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 /><Relationship Id="rId2" Type="http://schemas.openxmlformats.org/package/2006/relationships/metadata/thumbnail" Target="docProps/thumbnail.jpeg" /><Relationship Id="rId1" Type="http://schemas.openxmlformats.org/officeDocument/2006/relationships/officeDocument" Target="ppt/presentation.xml" /><Relationship Id="rId4" Type="http://schemas.openxmlformats.org/officeDocument/2006/relationships/extended-properties" Target="docProps/app.xml" /></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4">
  <p:sldMasterIdLst>
    <p:sldMasterId id="2147483648" r:id="rId1"/>
  </p:sldMasterIdLst>
  <p:notesMasterIdLst>
    <p:notesMasterId r:id="rId17"/>
  </p:notesMasterIdLst>
  <p:handoutMasterIdLst>
    <p:handoutMasterId r:id="rId18"/>
  </p:handoutMasterIdLst>
  <p:sldIdLst>
    <p:sldId id="378" r:id="rId2"/>
    <p:sldId id="372" r:id="rId3"/>
    <p:sldId id="360" r:id="rId4"/>
    <p:sldId id="361" r:id="rId5"/>
    <p:sldId id="382" r:id="rId6"/>
    <p:sldId id="384" r:id="rId7"/>
    <p:sldId id="387" r:id="rId8"/>
    <p:sldId id="385" r:id="rId9"/>
    <p:sldId id="386" r:id="rId10"/>
    <p:sldId id="381" r:id="rId11"/>
    <p:sldId id="370" r:id="rId12"/>
    <p:sldId id="383" r:id="rId13"/>
    <p:sldId id="380" r:id="rId14"/>
    <p:sldId id="379" r:id="rId15"/>
    <p:sldId id="376" r:id="rId16"/>
  </p:sldIdLst>
  <p:sldSz cx="9144000" cy="6858000" type="screen4x3"/>
  <p:notesSz cx="6858000" cy="9926638"/>
  <p:defaultTextStyle>
    <a:defPPr>
      <a:defRPr lang="en-GB"/>
    </a:defPPr>
    <a:lvl1pPr algn="l" rtl="0" fontAlgn="base">
      <a:spcBef>
        <a:spcPct val="0"/>
      </a:spcBef>
      <a:spcAft>
        <a:spcPct val="0"/>
      </a:spcAft>
      <a:defRPr sz="1200" kern="1200">
        <a:solidFill>
          <a:srgbClr val="0F5494"/>
        </a:solidFill>
        <a:latin typeface="Verdana" pitchFamily="34" charset="0"/>
        <a:ea typeface="+mn-ea"/>
        <a:cs typeface="+mn-cs"/>
      </a:defRPr>
    </a:lvl1pPr>
    <a:lvl2pPr marL="457200" algn="l" rtl="0" fontAlgn="base">
      <a:spcBef>
        <a:spcPct val="0"/>
      </a:spcBef>
      <a:spcAft>
        <a:spcPct val="0"/>
      </a:spcAft>
      <a:defRPr sz="1200" kern="1200">
        <a:solidFill>
          <a:srgbClr val="0F5494"/>
        </a:solidFill>
        <a:latin typeface="Verdana" pitchFamily="34" charset="0"/>
        <a:ea typeface="+mn-ea"/>
        <a:cs typeface="+mn-cs"/>
      </a:defRPr>
    </a:lvl2pPr>
    <a:lvl3pPr marL="914400" algn="l" rtl="0" fontAlgn="base">
      <a:spcBef>
        <a:spcPct val="0"/>
      </a:spcBef>
      <a:spcAft>
        <a:spcPct val="0"/>
      </a:spcAft>
      <a:defRPr sz="1200" kern="1200">
        <a:solidFill>
          <a:srgbClr val="0F5494"/>
        </a:solidFill>
        <a:latin typeface="Verdana" pitchFamily="34" charset="0"/>
        <a:ea typeface="+mn-ea"/>
        <a:cs typeface="+mn-cs"/>
      </a:defRPr>
    </a:lvl3pPr>
    <a:lvl4pPr marL="1371600" algn="l" rtl="0" fontAlgn="base">
      <a:spcBef>
        <a:spcPct val="0"/>
      </a:spcBef>
      <a:spcAft>
        <a:spcPct val="0"/>
      </a:spcAft>
      <a:defRPr sz="1200" kern="1200">
        <a:solidFill>
          <a:srgbClr val="0F5494"/>
        </a:solidFill>
        <a:latin typeface="Verdana" pitchFamily="34" charset="0"/>
        <a:ea typeface="+mn-ea"/>
        <a:cs typeface="+mn-cs"/>
      </a:defRPr>
    </a:lvl4pPr>
    <a:lvl5pPr marL="1828800" algn="l" rtl="0" fontAlgn="base">
      <a:spcBef>
        <a:spcPct val="0"/>
      </a:spcBef>
      <a:spcAft>
        <a:spcPct val="0"/>
      </a:spcAft>
      <a:defRPr sz="1200" kern="1200">
        <a:solidFill>
          <a:srgbClr val="0F5494"/>
        </a:solidFill>
        <a:latin typeface="Verdana" pitchFamily="34" charset="0"/>
        <a:ea typeface="+mn-ea"/>
        <a:cs typeface="+mn-cs"/>
      </a:defRPr>
    </a:lvl5pPr>
    <a:lvl6pPr marL="2286000" algn="l" defTabSz="914400" rtl="0" eaLnBrk="1" latinLnBrk="0" hangingPunct="1">
      <a:defRPr sz="1200" kern="1200">
        <a:solidFill>
          <a:srgbClr val="0F5494"/>
        </a:solidFill>
        <a:latin typeface="Verdana" pitchFamily="34" charset="0"/>
        <a:ea typeface="+mn-ea"/>
        <a:cs typeface="+mn-cs"/>
      </a:defRPr>
    </a:lvl6pPr>
    <a:lvl7pPr marL="2743200" algn="l" defTabSz="914400" rtl="0" eaLnBrk="1" latinLnBrk="0" hangingPunct="1">
      <a:defRPr sz="1200" kern="1200">
        <a:solidFill>
          <a:srgbClr val="0F5494"/>
        </a:solidFill>
        <a:latin typeface="Verdana" pitchFamily="34" charset="0"/>
        <a:ea typeface="+mn-ea"/>
        <a:cs typeface="+mn-cs"/>
      </a:defRPr>
    </a:lvl7pPr>
    <a:lvl8pPr marL="3200400" algn="l" defTabSz="914400" rtl="0" eaLnBrk="1" latinLnBrk="0" hangingPunct="1">
      <a:defRPr sz="1200" kern="1200">
        <a:solidFill>
          <a:srgbClr val="0F5494"/>
        </a:solidFill>
        <a:latin typeface="Verdana" pitchFamily="34" charset="0"/>
        <a:ea typeface="+mn-ea"/>
        <a:cs typeface="+mn-cs"/>
      </a:defRPr>
    </a:lvl8pPr>
    <a:lvl9pPr marL="3657600" algn="l" defTabSz="914400" rtl="0" eaLnBrk="1" latinLnBrk="0" hangingPunct="1">
      <a:defRPr sz="1200" kern="1200">
        <a:solidFill>
          <a:srgbClr val="0F5494"/>
        </a:solidFill>
        <a:latin typeface="Verdana"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20">
          <p15:clr>
            <a:srgbClr val="A4A3A4"/>
          </p15:clr>
        </p15:guide>
        <p15:guide id="2" pos="2167">
          <p15:clr>
            <a:srgbClr val="A4A3A4"/>
          </p15:clr>
        </p15:guide>
        <p15:guide id="3" orient="horz" pos="3127">
          <p15:clr>
            <a:srgbClr val="A4A3A4"/>
          </p15:clr>
        </p15:guide>
        <p15:guide id="4" pos="2159">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5494"/>
    <a:srgbClr val="3E6FD2"/>
    <a:srgbClr val="FF0066"/>
    <a:srgbClr val="BDDEFF"/>
    <a:srgbClr val="FF3300"/>
    <a:srgbClr val="FFCCFF"/>
    <a:srgbClr val="3166CF"/>
    <a:srgbClr val="DDF0C8"/>
    <a:srgbClr val="99CCFF"/>
    <a:srgbClr val="2D5EC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4838" autoAdjust="0"/>
    <p:restoredTop sz="81600" autoAdjust="0"/>
  </p:normalViewPr>
  <p:slideViewPr>
    <p:cSldViewPr>
      <p:cViewPr>
        <p:scale>
          <a:sx n="130" d="100"/>
          <a:sy n="130" d="100"/>
        </p:scale>
        <p:origin x="-1074" y="120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p:scale>
          <a:sx n="125" d="100"/>
          <a:sy n="125" d="100"/>
        </p:scale>
        <p:origin x="-3006" y="2088"/>
      </p:cViewPr>
      <p:guideLst>
        <p:guide orient="horz" pos="3120"/>
        <p:guide pos="2167"/>
        <p:guide orient="horz" pos="3127"/>
        <p:guide pos="215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 /><Relationship Id="rId13" Type="http://schemas.openxmlformats.org/officeDocument/2006/relationships/slide" Target="slides/slide12.xml" /><Relationship Id="rId18" Type="http://schemas.openxmlformats.org/officeDocument/2006/relationships/handoutMaster" Target="handoutMasters/handoutMaster1.xml" /><Relationship Id="rId3" Type="http://schemas.openxmlformats.org/officeDocument/2006/relationships/slide" Target="slides/slide2.xml" /><Relationship Id="rId21" Type="http://schemas.openxmlformats.org/officeDocument/2006/relationships/theme" Target="theme/theme1.xml" /><Relationship Id="rId7" Type="http://schemas.openxmlformats.org/officeDocument/2006/relationships/slide" Target="slides/slide6.xml" /><Relationship Id="rId12" Type="http://schemas.openxmlformats.org/officeDocument/2006/relationships/slide" Target="slides/slide11.xml" /><Relationship Id="rId17" Type="http://schemas.openxmlformats.org/officeDocument/2006/relationships/notesMaster" Target="notesMasters/notesMaster1.xml" /><Relationship Id="rId2" Type="http://schemas.openxmlformats.org/officeDocument/2006/relationships/slide" Target="slides/slide1.xml" /><Relationship Id="rId16" Type="http://schemas.openxmlformats.org/officeDocument/2006/relationships/slide" Target="slides/slide15.xml" /><Relationship Id="rId20" Type="http://schemas.openxmlformats.org/officeDocument/2006/relationships/viewProps" Target="viewProps.xml" /><Relationship Id="rId1" Type="http://schemas.openxmlformats.org/officeDocument/2006/relationships/slideMaster" Target="slideMasters/slideMaster1.xml" /><Relationship Id="rId6" Type="http://schemas.openxmlformats.org/officeDocument/2006/relationships/slide" Target="slides/slide5.xml" /><Relationship Id="rId11" Type="http://schemas.openxmlformats.org/officeDocument/2006/relationships/slide" Target="slides/slide10.xml" /><Relationship Id="rId5" Type="http://schemas.openxmlformats.org/officeDocument/2006/relationships/slide" Target="slides/slide4.xml" /><Relationship Id="rId15" Type="http://schemas.openxmlformats.org/officeDocument/2006/relationships/slide" Target="slides/slide14.xml" /><Relationship Id="rId10" Type="http://schemas.openxmlformats.org/officeDocument/2006/relationships/slide" Target="slides/slide9.xml" /><Relationship Id="rId19" Type="http://schemas.openxmlformats.org/officeDocument/2006/relationships/presProps" Target="presProps.xml" /><Relationship Id="rId4" Type="http://schemas.openxmlformats.org/officeDocument/2006/relationships/slide" Target="slides/slide3.xml" /><Relationship Id="rId9" Type="http://schemas.openxmlformats.org/officeDocument/2006/relationships/slide" Target="slides/slide8.xml" /><Relationship Id="rId14" Type="http://schemas.openxmlformats.org/officeDocument/2006/relationships/slide" Target="slides/slide13.xml" /><Relationship Id="rId22" Type="http://schemas.openxmlformats.org/officeDocument/2006/relationships/tableStyles" Target="tableStyles.xml" /></Relationships>
</file>

<file path=ppt/charts/_rels/chart1.xml.rels><?xml version="1.0" encoding="UTF-8" standalone="yes"?>
<Relationships xmlns="http://schemas.openxmlformats.org/package/2006/relationships"><Relationship Id="rId1" Type="http://schemas.openxmlformats.org/officeDocument/2006/relationships/oleObject" Target="file:///net1.cec.eu.int\EAC\C\C3\PROGRAMMES\ERASMUS+\FACTSHEETS%202018%20EDITION\region%201%20WBalkans\Copy%20of%20regional%20factsheet%20content%201%20westbalk.xlsx" TargetMode="External" /></Relationships>
</file>

<file path=ppt/charts/_rels/chart2.xml.rels><?xml version="1.0" encoding="UTF-8" standalone="yes"?>
<Relationships xmlns="http://schemas.openxmlformats.org/package/2006/relationships"><Relationship Id="rId1" Type="http://schemas.openxmlformats.org/officeDocument/2006/relationships/oleObject" Target="file:///net1.cec.eu.int\EAC\C\C3\PROGRAMMES\ERASMUS+\FACTSHEETS%202018%20EDITION\region%201%20WBalkans\Copy%20of%20regional%20factsheet%20content%201%20westbalk.xlsx" TargetMode="External" /></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r-Latn-RS"/>
  <c:roundedCorners val="0"/>
  <mc:AlternateContent xmlns:mc="http://schemas.openxmlformats.org/markup-compatibility/2006">
    <mc:Choice xmlns:c14="http://schemas.microsoft.com/office/drawing/2007/8/2/chart" Requires="c14">
      <c14:style val="116"/>
    </mc:Choice>
    <mc:Fallback>
      <c:style val="16"/>
    </mc:Fallback>
  </mc:AlternateContent>
  <c:chart>
    <c:autoTitleDeleted val="1"/>
    <c:plotArea>
      <c:layout/>
      <c:pieChart>
        <c:varyColors val="1"/>
        <c:ser>
          <c:idx val="0"/>
          <c:order val="0"/>
          <c:dPt>
            <c:idx val="0"/>
            <c:bubble3D val="0"/>
            <c:extLst>
              <c:ext xmlns:c16="http://schemas.microsoft.com/office/drawing/2014/chart" uri="{C3380CC4-5D6E-409C-BE32-E72D297353CC}">
                <c16:uniqueId val="{00000001-0A8B-4A55-8A42-2D0530206DAB}"/>
              </c:ext>
            </c:extLst>
          </c:dPt>
          <c:dPt>
            <c:idx val="1"/>
            <c:bubble3D val="0"/>
            <c:extLst>
              <c:ext xmlns:c16="http://schemas.microsoft.com/office/drawing/2014/chart" uri="{C3380CC4-5D6E-409C-BE32-E72D297353CC}">
                <c16:uniqueId val="{00000003-0A8B-4A55-8A42-2D0530206DAB}"/>
              </c:ext>
            </c:extLst>
          </c:dPt>
          <c:dPt>
            <c:idx val="2"/>
            <c:bubble3D val="0"/>
            <c:extLst>
              <c:ext xmlns:c16="http://schemas.microsoft.com/office/drawing/2014/chart" uri="{C3380CC4-5D6E-409C-BE32-E72D297353CC}">
                <c16:uniqueId val="{00000005-0A8B-4A55-8A42-2D0530206DAB}"/>
              </c:ext>
            </c:extLst>
          </c:dPt>
          <c:dPt>
            <c:idx val="3"/>
            <c:bubble3D val="0"/>
            <c:extLst>
              <c:ext xmlns:c16="http://schemas.microsoft.com/office/drawing/2014/chart" uri="{C3380CC4-5D6E-409C-BE32-E72D297353CC}">
                <c16:uniqueId val="{00000007-0A8B-4A55-8A42-2D0530206DAB}"/>
              </c:ext>
            </c:extLst>
          </c:dPt>
          <c:dPt>
            <c:idx val="4"/>
            <c:bubble3D val="0"/>
            <c:extLst>
              <c:ext xmlns:c16="http://schemas.microsoft.com/office/drawing/2014/chart" uri="{C3380CC4-5D6E-409C-BE32-E72D297353CC}">
                <c16:uniqueId val="{00000009-0A8B-4A55-8A42-2D0530206DAB}"/>
              </c:ext>
            </c:extLst>
          </c:dPt>
          <c:dLbls>
            <c:dLbl>
              <c:idx val="0"/>
              <c:layout>
                <c:manualLayout>
                  <c:x val="-0.12717758542701604"/>
                  <c:y val="0.15522462515728788"/>
                </c:manualLayout>
              </c:layout>
              <c:tx>
                <c:rich>
                  <a:bodyPr/>
                  <a:lstStyle/>
                  <a:p>
                    <a:r>
                      <a:rPr lang="en-US" sz="1050" dirty="0">
                        <a:solidFill>
                          <a:schemeClr val="bg1"/>
                        </a:solidFill>
                      </a:rPr>
                      <a:t>Albania 6</a:t>
                    </a:r>
                    <a:endParaRPr lang="en-US" sz="1050" dirty="0"/>
                  </a:p>
                </c:rich>
              </c:tx>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0A8B-4A55-8A42-2D0530206DAB}"/>
                </c:ext>
              </c:extLst>
            </c:dLbl>
            <c:dLbl>
              <c:idx val="1"/>
              <c:layout>
                <c:manualLayout>
                  <c:x val="-0.21852160275842367"/>
                  <c:y val="-1.9157462666855824E-2"/>
                </c:manualLayout>
              </c:layout>
              <c:tx>
                <c:rich>
                  <a:bodyPr/>
                  <a:lstStyle/>
                  <a:p>
                    <a:r>
                      <a:rPr lang="en-US" sz="1000" dirty="0" err="1">
                        <a:solidFill>
                          <a:schemeClr val="bg1"/>
                        </a:solidFill>
                      </a:rPr>
                      <a:t>BiH</a:t>
                    </a:r>
                    <a:r>
                      <a:rPr lang="en-US" sz="1000" dirty="0">
                        <a:solidFill>
                          <a:schemeClr val="bg1"/>
                        </a:solidFill>
                      </a:rPr>
                      <a:t> 8</a:t>
                    </a:r>
                    <a:endParaRPr lang="en-US" sz="1000" dirty="0"/>
                  </a:p>
                </c:rich>
              </c:tx>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0A8B-4A55-8A42-2D0530206DAB}"/>
                </c:ext>
              </c:extLst>
            </c:dLbl>
            <c:dLbl>
              <c:idx val="2"/>
              <c:layout>
                <c:manualLayout>
                  <c:x val="-0.10488070769914454"/>
                  <c:y val="-0.20382136293716901"/>
                </c:manualLayout>
              </c:layout>
              <c:tx>
                <c:rich>
                  <a:bodyPr/>
                  <a:lstStyle/>
                  <a:p>
                    <a:r>
                      <a:rPr lang="en-US" sz="1050">
                        <a:solidFill>
                          <a:schemeClr val="bg1"/>
                        </a:solidFill>
                      </a:rPr>
                      <a:t>Kosovo 6</a:t>
                    </a:r>
                    <a:endParaRPr lang="en-US" sz="1050"/>
                  </a:p>
                </c:rich>
              </c:tx>
              <c:showLegendKey val="0"/>
              <c:showVal val="1"/>
              <c:showCatName val="1"/>
              <c:showSerName val="0"/>
              <c:showPercent val="0"/>
              <c:showBubbleSize val="0"/>
              <c:separator> </c:separator>
              <c:extLst>
                <c:ext xmlns:c15="http://schemas.microsoft.com/office/drawing/2012/chart" uri="{CE6537A1-D6FC-4f65-9D91-7224C49458BB}">
                  <c15:layout>
                    <c:manualLayout>
                      <c:w val="0.2152982026143791"/>
                      <c:h val="0.12583841463414633"/>
                    </c:manualLayout>
                  </c15:layout>
                </c:ext>
                <c:ext xmlns:c16="http://schemas.microsoft.com/office/drawing/2014/chart" uri="{C3380CC4-5D6E-409C-BE32-E72D297353CC}">
                  <c16:uniqueId val="{00000005-0A8B-4A55-8A42-2D0530206DAB}"/>
                </c:ext>
              </c:extLst>
            </c:dLbl>
            <c:dLbl>
              <c:idx val="3"/>
              <c:layout>
                <c:manualLayout>
                  <c:x val="0.16750966162489883"/>
                  <c:y val="-0.15777254536329988"/>
                </c:manualLayout>
              </c:layout>
              <c:tx>
                <c:rich>
                  <a:bodyPr/>
                  <a:lstStyle/>
                  <a:p>
                    <a:r>
                      <a:rPr lang="en-US" sz="1050" dirty="0">
                        <a:solidFill>
                          <a:schemeClr val="bg1"/>
                        </a:solidFill>
                      </a:rPr>
                      <a:t>Montenegro 6</a:t>
                    </a:r>
                    <a:endParaRPr lang="en-US" sz="1050" dirty="0"/>
                  </a:p>
                </c:rich>
              </c:tx>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7-0A8B-4A55-8A42-2D0530206DAB}"/>
                </c:ext>
              </c:extLst>
            </c:dLbl>
            <c:dLbl>
              <c:idx val="4"/>
              <c:layout>
                <c:manualLayout>
                  <c:x val="0.24964661664576951"/>
                  <c:y val="0.10622025282056155"/>
                </c:manualLayout>
              </c:layout>
              <c:tx>
                <c:rich>
                  <a:bodyPr/>
                  <a:lstStyle/>
                  <a:p>
                    <a:r>
                      <a:rPr lang="en-US" sz="1050">
                        <a:solidFill>
                          <a:schemeClr val="bg1"/>
                        </a:solidFill>
                      </a:rPr>
                      <a:t>Serbia 12</a:t>
                    </a:r>
                    <a:endParaRPr lang="en-US" sz="1050"/>
                  </a:p>
                </c:rich>
              </c:tx>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9-0A8B-4A55-8A42-2D0530206DAB}"/>
                </c:ext>
              </c:extLst>
            </c:dLbl>
            <c:spPr>
              <a:noFill/>
              <a:ln>
                <a:noFill/>
              </a:ln>
              <a:effectLst/>
            </c:spPr>
            <c:txPr>
              <a:bodyPr rot="0" vert="horz"/>
              <a:lstStyle/>
              <a:p>
                <a:pPr>
                  <a:defRPr/>
                </a:pPr>
                <a:endParaRPr lang="sr-Latn-RS"/>
              </a:p>
            </c:txPr>
            <c:showLegendKey val="0"/>
            <c:showVal val="1"/>
            <c:showCatName val="1"/>
            <c:showSerName val="0"/>
            <c:showPercent val="0"/>
            <c:showBubbleSize val="0"/>
            <c:separator> </c:separator>
            <c:showLeaderLines val="1"/>
            <c:extLst>
              <c:ext xmlns:c15="http://schemas.microsoft.com/office/drawing/2012/chart" uri="{CE6537A1-D6FC-4f65-9D91-7224C49458BB}"/>
            </c:extLst>
          </c:dLbls>
          <c:cat>
            <c:strRef>
              <c:f>'Regional graphs'!$A$2:$A$6</c:f>
              <c:strCache>
                <c:ptCount val="5"/>
                <c:pt idx="0">
                  <c:v>Albania</c:v>
                </c:pt>
                <c:pt idx="1">
                  <c:v>Bosnia and Herzegovina</c:v>
                </c:pt>
                <c:pt idx="2">
                  <c:v>Kosovo*</c:v>
                </c:pt>
                <c:pt idx="3">
                  <c:v>Montenegro</c:v>
                </c:pt>
                <c:pt idx="4">
                  <c:v>Serbia</c:v>
                </c:pt>
              </c:strCache>
            </c:strRef>
          </c:cat>
          <c:val>
            <c:numRef>
              <c:f>'Regional graphs'!$B$2:$B$6</c:f>
              <c:numCache>
                <c:formatCode>General</c:formatCode>
                <c:ptCount val="5"/>
                <c:pt idx="0">
                  <c:v>6</c:v>
                </c:pt>
                <c:pt idx="1">
                  <c:v>8</c:v>
                </c:pt>
                <c:pt idx="2">
                  <c:v>6</c:v>
                </c:pt>
                <c:pt idx="3">
                  <c:v>6</c:v>
                </c:pt>
                <c:pt idx="4">
                  <c:v>12</c:v>
                </c:pt>
              </c:numCache>
            </c:numRef>
          </c:val>
          <c:extLst>
            <c:ext xmlns:c16="http://schemas.microsoft.com/office/drawing/2014/chart" uri="{C3380CC4-5D6E-409C-BE32-E72D297353CC}">
              <c16:uniqueId val="{00000000-2D25-4F6F-B9A8-11F2B5DA3DF3}"/>
            </c:ext>
          </c:extLst>
        </c:ser>
        <c:dLbls>
          <c:showLegendKey val="0"/>
          <c:showVal val="1"/>
          <c:showCatName val="1"/>
          <c:showSerName val="0"/>
          <c:showPercent val="0"/>
          <c:showBubbleSize val="0"/>
          <c:showLeaderLines val="1"/>
        </c:dLbls>
        <c:firstSliceAng val="0"/>
      </c:pieChart>
    </c:plotArea>
    <c:plotVisOnly val="1"/>
    <c:dispBlanksAs val="gap"/>
    <c:showDLblsOverMax val="0"/>
  </c:chart>
  <c:txPr>
    <a:bodyPr/>
    <a:lstStyle/>
    <a:p>
      <a:pPr>
        <a:defRPr sz="1800"/>
      </a:pPr>
      <a:endParaRPr lang="sr-Latn-R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sr-Latn-R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dirty="0"/>
              <a:t>Participation</a:t>
            </a:r>
            <a:r>
              <a:rPr lang="en-GB" baseline="0" dirty="0"/>
              <a:t> in CBHE projects </a:t>
            </a:r>
          </a:p>
          <a:p>
            <a:pPr>
              <a:defRPr sz="1400" b="0" i="0" u="none" strike="noStrike" kern="1200" spc="0" baseline="0">
                <a:solidFill>
                  <a:schemeClr val="tx1">
                    <a:lumMod val="65000"/>
                    <a:lumOff val="35000"/>
                  </a:schemeClr>
                </a:solidFill>
                <a:latin typeface="+mn-lt"/>
                <a:ea typeface="+mn-ea"/>
                <a:cs typeface="+mn-cs"/>
              </a:defRPr>
            </a:pPr>
            <a:r>
              <a:rPr lang="en-GB" baseline="0" dirty="0"/>
              <a:t>2015-2018</a:t>
            </a:r>
            <a:endParaRPr lang="en-GB" dirty="0"/>
          </a:p>
        </c:rich>
      </c:tx>
      <c:layout>
        <c:manualLayout>
          <c:xMode val="edge"/>
          <c:yMode val="edge"/>
          <c:x val="0.1905"/>
          <c:y val="0"/>
        </c:manualLayout>
      </c:layout>
      <c:overlay val="0"/>
      <c:spPr>
        <a:noFill/>
        <a:ln>
          <a:noFill/>
        </a:ln>
        <a:effectLst/>
      </c:spPr>
    </c:title>
    <c:autoTitleDeleted val="0"/>
    <c:plotArea>
      <c:layout/>
      <c:barChart>
        <c:barDir val="col"/>
        <c:grouping val="stacked"/>
        <c:varyColors val="0"/>
        <c:ser>
          <c:idx val="0"/>
          <c:order val="0"/>
          <c:tx>
            <c:strRef>
              <c:f>'Regional graphs'!$R$3</c:f>
              <c:strCache>
                <c:ptCount val="1"/>
                <c:pt idx="0">
                  <c:v>partner</c:v>
                </c:pt>
              </c:strCache>
            </c:strRef>
          </c:tx>
          <c:spPr>
            <a:solidFill>
              <a:srgbClr val="FFC000"/>
            </a:solidFill>
            <a:ln>
              <a:noFill/>
            </a:ln>
            <a:effectLst/>
          </c:spPr>
          <c:invertIfNegative val="0"/>
          <c:cat>
            <c:strRef>
              <c:f>'Regional graphs'!$Q$4:$Q$8</c:f>
              <c:strCache>
                <c:ptCount val="5"/>
                <c:pt idx="0">
                  <c:v>Serbia</c:v>
                </c:pt>
                <c:pt idx="1">
                  <c:v>Montenegro</c:v>
                </c:pt>
                <c:pt idx="2">
                  <c:v>Kosovo*</c:v>
                </c:pt>
                <c:pt idx="3">
                  <c:v>Bosnia and Herzegovina</c:v>
                </c:pt>
                <c:pt idx="4">
                  <c:v>Albania</c:v>
                </c:pt>
              </c:strCache>
            </c:strRef>
          </c:cat>
          <c:val>
            <c:numRef>
              <c:f>'Regional graphs'!$R$4:$R$8</c:f>
              <c:numCache>
                <c:formatCode>General</c:formatCode>
                <c:ptCount val="5"/>
                <c:pt idx="0">
                  <c:v>178</c:v>
                </c:pt>
                <c:pt idx="1">
                  <c:v>39</c:v>
                </c:pt>
                <c:pt idx="2">
                  <c:v>59</c:v>
                </c:pt>
                <c:pt idx="3">
                  <c:v>114</c:v>
                </c:pt>
                <c:pt idx="4">
                  <c:v>74</c:v>
                </c:pt>
              </c:numCache>
            </c:numRef>
          </c:val>
          <c:extLst>
            <c:ext xmlns:c16="http://schemas.microsoft.com/office/drawing/2014/chart" uri="{C3380CC4-5D6E-409C-BE32-E72D297353CC}">
              <c16:uniqueId val="{00000000-EF93-4DA4-9FE3-1567BFA2DE63}"/>
            </c:ext>
          </c:extLst>
        </c:ser>
        <c:ser>
          <c:idx val="1"/>
          <c:order val="1"/>
          <c:tx>
            <c:strRef>
              <c:f>'Regional graphs'!$S$3</c:f>
              <c:strCache>
                <c:ptCount val="1"/>
                <c:pt idx="0">
                  <c:v>coordinator</c:v>
                </c:pt>
              </c:strCache>
            </c:strRef>
          </c:tx>
          <c:spPr>
            <a:solidFill>
              <a:schemeClr val="accent2"/>
            </a:solidFill>
            <a:ln>
              <a:noFill/>
            </a:ln>
            <a:effectLst/>
          </c:spPr>
          <c:invertIfNegative val="0"/>
          <c:cat>
            <c:strRef>
              <c:f>'Regional graphs'!$Q$4:$Q$8</c:f>
              <c:strCache>
                <c:ptCount val="5"/>
                <c:pt idx="0">
                  <c:v>Serbia</c:v>
                </c:pt>
                <c:pt idx="1">
                  <c:v>Montenegro</c:v>
                </c:pt>
                <c:pt idx="2">
                  <c:v>Kosovo*</c:v>
                </c:pt>
                <c:pt idx="3">
                  <c:v>Bosnia and Herzegovina</c:v>
                </c:pt>
                <c:pt idx="4">
                  <c:v>Albania</c:v>
                </c:pt>
              </c:strCache>
            </c:strRef>
          </c:cat>
          <c:val>
            <c:numRef>
              <c:f>'Regional graphs'!$S$4:$S$8</c:f>
              <c:numCache>
                <c:formatCode>General</c:formatCode>
                <c:ptCount val="5"/>
                <c:pt idx="0">
                  <c:v>25</c:v>
                </c:pt>
                <c:pt idx="1">
                  <c:v>3</c:v>
                </c:pt>
                <c:pt idx="2">
                  <c:v>5</c:v>
                </c:pt>
                <c:pt idx="3">
                  <c:v>3</c:v>
                </c:pt>
                <c:pt idx="4">
                  <c:v>4</c:v>
                </c:pt>
              </c:numCache>
            </c:numRef>
          </c:val>
          <c:extLst>
            <c:ext xmlns:c16="http://schemas.microsoft.com/office/drawing/2014/chart" uri="{C3380CC4-5D6E-409C-BE32-E72D297353CC}">
              <c16:uniqueId val="{00000001-EF93-4DA4-9FE3-1567BFA2DE63}"/>
            </c:ext>
          </c:extLst>
        </c:ser>
        <c:dLbls>
          <c:showLegendKey val="0"/>
          <c:showVal val="0"/>
          <c:showCatName val="0"/>
          <c:showSerName val="0"/>
          <c:showPercent val="0"/>
          <c:showBubbleSize val="0"/>
        </c:dLbls>
        <c:gapWidth val="150"/>
        <c:overlap val="100"/>
        <c:axId val="109292544"/>
        <c:axId val="109306624"/>
      </c:barChart>
      <c:catAx>
        <c:axId val="1092925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r-Latn-RS"/>
          </a:p>
        </c:txPr>
        <c:crossAx val="109306624"/>
        <c:crosses val="autoZero"/>
        <c:auto val="1"/>
        <c:lblAlgn val="ctr"/>
        <c:lblOffset val="100"/>
        <c:noMultiLvlLbl val="0"/>
      </c:catAx>
      <c:valAx>
        <c:axId val="109306624"/>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r-Latn-RS"/>
          </a:p>
        </c:txPr>
        <c:crossAx val="10929254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sr-Latn-RS"/>
        </a:p>
      </c:txPr>
    </c:legend>
    <c:plotVisOnly val="1"/>
    <c:dispBlanksAs val="gap"/>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sr-Latn-RS"/>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2887B70-A13C-49A4-9466-20BF01E98D9C}" type="doc">
      <dgm:prSet loTypeId="urn:microsoft.com/office/officeart/2005/8/layout/vList5" loCatId="list" qsTypeId="urn:microsoft.com/office/officeart/2005/8/quickstyle/simple1" qsCatId="simple" csTypeId="urn:microsoft.com/office/officeart/2005/8/colors/colorful5" csCatId="colorful" phldr="1"/>
      <dgm:spPr/>
      <dgm:t>
        <a:bodyPr/>
        <a:lstStyle/>
        <a:p>
          <a:endParaRPr lang="en-GB"/>
        </a:p>
      </dgm:t>
    </dgm:pt>
    <dgm:pt modelId="{BE21E8F2-2A19-4650-9941-8E906D9E7DCE}">
      <dgm:prSet phldrT="[Text]" custT="1"/>
      <dgm:spPr/>
      <dgm:t>
        <a:bodyPr/>
        <a:lstStyle/>
        <a:p>
          <a:r>
            <a:rPr lang="es-ES" sz="3000" b="1" dirty="0">
              <a:latin typeface="Verdana" panose="020B0604030504040204" pitchFamily="34" charset="0"/>
              <a:ea typeface="Verdana" panose="020B0604030504040204" pitchFamily="34" charset="0"/>
              <a:cs typeface="Verdana" panose="020B0604030504040204" pitchFamily="34" charset="0"/>
            </a:rPr>
            <a:t>2015</a:t>
          </a:r>
        </a:p>
      </dgm:t>
    </dgm:pt>
    <dgm:pt modelId="{E4B78A66-C47D-4CEC-9093-F2BC87EFBA33}" type="parTrans" cxnId="{A370CBEA-3EB7-462A-9163-4FDB26130C98}">
      <dgm:prSet/>
      <dgm:spPr/>
      <dgm:t>
        <a:bodyPr/>
        <a:lstStyle/>
        <a:p>
          <a:endParaRPr lang="en-GB"/>
        </a:p>
      </dgm:t>
    </dgm:pt>
    <dgm:pt modelId="{06B013F7-8B07-4C90-927B-C983698BF237}" type="sibTrans" cxnId="{A370CBEA-3EB7-462A-9163-4FDB26130C98}">
      <dgm:prSet/>
      <dgm:spPr/>
      <dgm:t>
        <a:bodyPr/>
        <a:lstStyle/>
        <a:p>
          <a:endParaRPr lang="en-GB"/>
        </a:p>
      </dgm:t>
    </dgm:pt>
    <dgm:pt modelId="{7777B11E-6218-4A89-86BA-14B0EB96A066}">
      <dgm:prSet phldrT="[Text]" custT="1"/>
      <dgm:spPr/>
      <dgm:t>
        <a:bodyPr/>
        <a:lstStyle/>
        <a:p>
          <a:pPr rtl="0"/>
          <a:r>
            <a:rPr lang="es-ES" altLang="en-US" sz="3000" dirty="0">
              <a:solidFill>
                <a:srgbClr val="336699"/>
              </a:solidFill>
              <a:latin typeface="Verdana" panose="020B0604030504040204" pitchFamily="34" charset="0"/>
              <a:ea typeface="Verdana" panose="020B0604030504040204" pitchFamily="34" charset="0"/>
              <a:cs typeface="Verdana" panose="020B0604030504040204" pitchFamily="34" charset="0"/>
            </a:rPr>
            <a:t>15/6 </a:t>
          </a:r>
          <a:endParaRPr lang="en-GB" sz="3000" dirty="0">
            <a:solidFill>
              <a:srgbClr val="336699"/>
            </a:solidFill>
            <a:latin typeface="Verdana" panose="020B0604030504040204" pitchFamily="34" charset="0"/>
            <a:ea typeface="Verdana" panose="020B0604030504040204" pitchFamily="34" charset="0"/>
            <a:cs typeface="Verdana" panose="020B0604030504040204" pitchFamily="34" charset="0"/>
          </a:endParaRPr>
        </a:p>
      </dgm:t>
    </dgm:pt>
    <dgm:pt modelId="{348FABE5-628A-4678-9EF5-56B77F54273E}" type="parTrans" cxnId="{E0FD7C87-5013-4647-98C2-86328DB68B30}">
      <dgm:prSet/>
      <dgm:spPr/>
      <dgm:t>
        <a:bodyPr/>
        <a:lstStyle/>
        <a:p>
          <a:endParaRPr lang="en-GB"/>
        </a:p>
      </dgm:t>
    </dgm:pt>
    <dgm:pt modelId="{06B1D9D4-1F32-4D0C-97C9-251713DC2B66}" type="sibTrans" cxnId="{E0FD7C87-5013-4647-98C2-86328DB68B30}">
      <dgm:prSet/>
      <dgm:spPr/>
      <dgm:t>
        <a:bodyPr/>
        <a:lstStyle/>
        <a:p>
          <a:endParaRPr lang="en-GB"/>
        </a:p>
      </dgm:t>
    </dgm:pt>
    <dgm:pt modelId="{5A29B0AF-3331-4D9A-92D3-ADA78A0ECF44}">
      <dgm:prSet phldrT="[Text]" custT="1"/>
      <dgm:spPr/>
      <dgm:t>
        <a:bodyPr/>
        <a:lstStyle/>
        <a:p>
          <a:r>
            <a:rPr lang="es-ES" sz="3000" b="1" dirty="0">
              <a:latin typeface="Verdana" panose="020B0604030504040204" pitchFamily="34" charset="0"/>
              <a:ea typeface="Verdana" panose="020B0604030504040204" pitchFamily="34" charset="0"/>
              <a:cs typeface="Verdana" panose="020B0604030504040204" pitchFamily="34" charset="0"/>
            </a:rPr>
            <a:t>2016</a:t>
          </a:r>
        </a:p>
      </dgm:t>
    </dgm:pt>
    <dgm:pt modelId="{5DF26564-9399-4D7C-8FD8-62609E48BB41}" type="parTrans" cxnId="{483CBE10-4861-4040-B958-C070976FB97A}">
      <dgm:prSet/>
      <dgm:spPr/>
      <dgm:t>
        <a:bodyPr/>
        <a:lstStyle/>
        <a:p>
          <a:endParaRPr lang="en-GB"/>
        </a:p>
      </dgm:t>
    </dgm:pt>
    <dgm:pt modelId="{4A94B962-4C43-437C-B2C8-673C5FB18872}" type="sibTrans" cxnId="{483CBE10-4861-4040-B958-C070976FB97A}">
      <dgm:prSet/>
      <dgm:spPr/>
      <dgm:t>
        <a:bodyPr/>
        <a:lstStyle/>
        <a:p>
          <a:endParaRPr lang="en-GB"/>
        </a:p>
      </dgm:t>
    </dgm:pt>
    <dgm:pt modelId="{04BFEBAE-D6E5-4DC9-B1EE-4A1F0C24B4F3}">
      <dgm:prSet phldrT="[Text]" custT="1"/>
      <dgm:spPr/>
      <dgm:t>
        <a:bodyPr/>
        <a:lstStyle/>
        <a:p>
          <a:pPr rtl="0"/>
          <a:r>
            <a:rPr lang="es-ES" altLang="en-US" sz="3000" dirty="0">
              <a:solidFill>
                <a:srgbClr val="336699"/>
              </a:solidFill>
              <a:latin typeface="Verdana" panose="020B0604030504040204" pitchFamily="34" charset="0"/>
              <a:ea typeface="Verdana" panose="020B0604030504040204" pitchFamily="34" charset="0"/>
              <a:cs typeface="Verdana" panose="020B0604030504040204" pitchFamily="34" charset="0"/>
            </a:rPr>
            <a:t>18/11 </a:t>
          </a:r>
          <a:endParaRPr lang="en-GB" sz="3000" dirty="0">
            <a:solidFill>
              <a:srgbClr val="336699"/>
            </a:solidFill>
            <a:latin typeface="Verdana" panose="020B0604030504040204" pitchFamily="34" charset="0"/>
            <a:ea typeface="Verdana" panose="020B0604030504040204" pitchFamily="34" charset="0"/>
            <a:cs typeface="Verdana" panose="020B0604030504040204" pitchFamily="34" charset="0"/>
          </a:endParaRPr>
        </a:p>
      </dgm:t>
    </dgm:pt>
    <dgm:pt modelId="{7209D620-A5DB-4175-A02F-69C1B7A690D4}" type="parTrans" cxnId="{9A1FAD48-948D-484B-B891-0676CED5B9AC}">
      <dgm:prSet/>
      <dgm:spPr/>
      <dgm:t>
        <a:bodyPr/>
        <a:lstStyle/>
        <a:p>
          <a:endParaRPr lang="en-GB"/>
        </a:p>
      </dgm:t>
    </dgm:pt>
    <dgm:pt modelId="{CE3781B7-8744-4A10-A84A-5F3056F823B0}" type="sibTrans" cxnId="{9A1FAD48-948D-484B-B891-0676CED5B9AC}">
      <dgm:prSet/>
      <dgm:spPr/>
      <dgm:t>
        <a:bodyPr/>
        <a:lstStyle/>
        <a:p>
          <a:endParaRPr lang="en-GB"/>
        </a:p>
      </dgm:t>
    </dgm:pt>
    <dgm:pt modelId="{AAF93239-A2BD-4072-960E-6E54F3ED1D68}">
      <dgm:prSet phldrT="[Text]" custT="1"/>
      <dgm:spPr/>
      <dgm:t>
        <a:bodyPr/>
        <a:lstStyle/>
        <a:p>
          <a:r>
            <a:rPr lang="es-ES" sz="3000" b="1" dirty="0">
              <a:latin typeface="Verdana" panose="020B0604030504040204" pitchFamily="34" charset="0"/>
              <a:ea typeface="Verdana" panose="020B0604030504040204" pitchFamily="34" charset="0"/>
              <a:cs typeface="Verdana" panose="020B0604030504040204" pitchFamily="34" charset="0"/>
            </a:rPr>
            <a:t>2017</a:t>
          </a:r>
        </a:p>
      </dgm:t>
    </dgm:pt>
    <dgm:pt modelId="{C0EDF1D5-A135-40ED-90AB-93B9D6AEC1DB}" type="parTrans" cxnId="{FFB5A2A6-4710-4D60-9391-1847D15EFB6F}">
      <dgm:prSet/>
      <dgm:spPr/>
      <dgm:t>
        <a:bodyPr/>
        <a:lstStyle/>
        <a:p>
          <a:endParaRPr lang="en-GB"/>
        </a:p>
      </dgm:t>
    </dgm:pt>
    <dgm:pt modelId="{87416AD3-27A6-45B2-B6EE-00D013D93CCE}" type="sibTrans" cxnId="{FFB5A2A6-4710-4D60-9391-1847D15EFB6F}">
      <dgm:prSet/>
      <dgm:spPr/>
      <dgm:t>
        <a:bodyPr/>
        <a:lstStyle/>
        <a:p>
          <a:endParaRPr lang="en-GB"/>
        </a:p>
      </dgm:t>
    </dgm:pt>
    <dgm:pt modelId="{74FDEAD5-A975-436A-920C-C1D3048B8B99}">
      <dgm:prSet phldrT="[Text]" custT="1"/>
      <dgm:spPr/>
      <dgm:t>
        <a:bodyPr/>
        <a:lstStyle/>
        <a:p>
          <a:pPr rtl="0"/>
          <a:r>
            <a:rPr lang="es-ES" altLang="en-US" sz="3000" dirty="0">
              <a:solidFill>
                <a:srgbClr val="336699"/>
              </a:solidFill>
              <a:latin typeface="Verdana" panose="020B0604030504040204" pitchFamily="34" charset="0"/>
              <a:ea typeface="Verdana" panose="020B0604030504040204" pitchFamily="34" charset="0"/>
              <a:cs typeface="Verdana" panose="020B0604030504040204" pitchFamily="34" charset="0"/>
            </a:rPr>
            <a:t>16/10</a:t>
          </a:r>
          <a:endParaRPr lang="en-GB" sz="3000" dirty="0">
            <a:solidFill>
              <a:srgbClr val="336699"/>
            </a:solidFill>
            <a:latin typeface="Verdana" panose="020B0604030504040204" pitchFamily="34" charset="0"/>
            <a:ea typeface="Verdana" panose="020B0604030504040204" pitchFamily="34" charset="0"/>
            <a:cs typeface="Verdana" panose="020B0604030504040204" pitchFamily="34" charset="0"/>
          </a:endParaRPr>
        </a:p>
      </dgm:t>
    </dgm:pt>
    <dgm:pt modelId="{A9ABB338-FF4D-41EE-8A84-B1EEDE35B8F9}" type="parTrans" cxnId="{167C0888-40B3-4527-80F9-8088F40AD2C4}">
      <dgm:prSet/>
      <dgm:spPr/>
      <dgm:t>
        <a:bodyPr/>
        <a:lstStyle/>
        <a:p>
          <a:endParaRPr lang="en-GB"/>
        </a:p>
      </dgm:t>
    </dgm:pt>
    <dgm:pt modelId="{63028611-82E2-46F2-96EC-4451A20CA19D}" type="sibTrans" cxnId="{167C0888-40B3-4527-80F9-8088F40AD2C4}">
      <dgm:prSet/>
      <dgm:spPr/>
      <dgm:t>
        <a:bodyPr/>
        <a:lstStyle/>
        <a:p>
          <a:endParaRPr lang="en-GB"/>
        </a:p>
      </dgm:t>
    </dgm:pt>
    <dgm:pt modelId="{108DE409-6494-414A-84BA-93D19A4105D9}">
      <dgm:prSet phldrT="[Text]" custT="1"/>
      <dgm:spPr/>
      <dgm:t>
        <a:bodyPr/>
        <a:lstStyle/>
        <a:p>
          <a:pPr rtl="0"/>
          <a:r>
            <a:rPr lang="en-GB" sz="3000" dirty="0">
              <a:solidFill>
                <a:schemeClr val="bg1"/>
              </a:solidFill>
              <a:latin typeface="Verdana" panose="020B0604030504040204" pitchFamily="34" charset="0"/>
              <a:ea typeface="Verdana" panose="020B0604030504040204" pitchFamily="34" charset="0"/>
              <a:cs typeface="Verdana" panose="020B0604030504040204" pitchFamily="34" charset="0"/>
            </a:rPr>
            <a:t>2018</a:t>
          </a:r>
        </a:p>
      </dgm:t>
    </dgm:pt>
    <dgm:pt modelId="{E84C2EB0-3D08-417C-BBB5-5E81FC5E280C}" type="parTrans" cxnId="{7A91C662-60B6-418D-817A-A4888564D46D}">
      <dgm:prSet/>
      <dgm:spPr/>
      <dgm:t>
        <a:bodyPr/>
        <a:lstStyle/>
        <a:p>
          <a:endParaRPr lang="en-GB"/>
        </a:p>
      </dgm:t>
    </dgm:pt>
    <dgm:pt modelId="{ADD6FEAA-F25D-483B-B202-C27F2CEFCEDA}" type="sibTrans" cxnId="{7A91C662-60B6-418D-817A-A4888564D46D}">
      <dgm:prSet/>
      <dgm:spPr/>
      <dgm:t>
        <a:bodyPr/>
        <a:lstStyle/>
        <a:p>
          <a:endParaRPr lang="en-GB"/>
        </a:p>
      </dgm:t>
    </dgm:pt>
    <dgm:pt modelId="{8C49A147-5436-4F7C-809B-4165382C7527}">
      <dgm:prSet phldrT="[Text]" custT="1"/>
      <dgm:spPr/>
      <dgm:t>
        <a:bodyPr/>
        <a:lstStyle/>
        <a:p>
          <a:pPr rtl="0"/>
          <a:r>
            <a:rPr lang="en-GB" sz="3000" dirty="0">
              <a:solidFill>
                <a:srgbClr val="336699"/>
              </a:solidFill>
              <a:latin typeface="Verdana" panose="020B0604030504040204" pitchFamily="34" charset="0"/>
              <a:ea typeface="Verdana" panose="020B0604030504040204" pitchFamily="34" charset="0"/>
              <a:cs typeface="Verdana" panose="020B0604030504040204" pitchFamily="34" charset="0"/>
            </a:rPr>
            <a:t>19/13 </a:t>
          </a:r>
        </a:p>
      </dgm:t>
    </dgm:pt>
    <dgm:pt modelId="{D5D77E0C-0276-4363-8DA9-39E2B5C89F9B}" type="parTrans" cxnId="{AEBA3F0C-5381-4C49-8C7C-9623C9514300}">
      <dgm:prSet/>
      <dgm:spPr/>
      <dgm:t>
        <a:bodyPr/>
        <a:lstStyle/>
        <a:p>
          <a:endParaRPr lang="en-GB"/>
        </a:p>
      </dgm:t>
    </dgm:pt>
    <dgm:pt modelId="{D049BBA1-ABAA-494A-ABF0-533ECA8E4C93}" type="sibTrans" cxnId="{AEBA3F0C-5381-4C49-8C7C-9623C9514300}">
      <dgm:prSet/>
      <dgm:spPr/>
      <dgm:t>
        <a:bodyPr/>
        <a:lstStyle/>
        <a:p>
          <a:endParaRPr lang="en-GB"/>
        </a:p>
      </dgm:t>
    </dgm:pt>
    <dgm:pt modelId="{AC892223-8AAC-49E1-A618-C29312A07EDB}" type="pres">
      <dgm:prSet presAssocID="{22887B70-A13C-49A4-9466-20BF01E98D9C}" presName="Name0" presStyleCnt="0">
        <dgm:presLayoutVars>
          <dgm:dir/>
          <dgm:animLvl val="lvl"/>
          <dgm:resizeHandles val="exact"/>
        </dgm:presLayoutVars>
      </dgm:prSet>
      <dgm:spPr/>
    </dgm:pt>
    <dgm:pt modelId="{E4023BF6-511D-4C7F-9537-0ACE57A07B4C}" type="pres">
      <dgm:prSet presAssocID="{BE21E8F2-2A19-4650-9941-8E906D9E7DCE}" presName="linNode" presStyleCnt="0"/>
      <dgm:spPr/>
    </dgm:pt>
    <dgm:pt modelId="{A0A7EAD1-B8F7-4083-97A3-D30630F612DD}" type="pres">
      <dgm:prSet presAssocID="{BE21E8F2-2A19-4650-9941-8E906D9E7DCE}" presName="parentText" presStyleLbl="node1" presStyleIdx="0" presStyleCnt="4" custLinFactNeighborX="-888" custLinFactNeighborY="2490">
        <dgm:presLayoutVars>
          <dgm:chMax val="1"/>
          <dgm:bulletEnabled val="1"/>
        </dgm:presLayoutVars>
      </dgm:prSet>
      <dgm:spPr/>
    </dgm:pt>
    <dgm:pt modelId="{0739355C-4ACA-43E2-ABB7-4E7EC59F8F3D}" type="pres">
      <dgm:prSet presAssocID="{BE21E8F2-2A19-4650-9941-8E906D9E7DCE}" presName="descendantText" presStyleLbl="alignAccFollowNode1" presStyleIdx="0" presStyleCnt="4" custScaleX="63638" custLinFactNeighborX="-774" custLinFactNeighborY="0">
        <dgm:presLayoutVars>
          <dgm:bulletEnabled val="1"/>
        </dgm:presLayoutVars>
      </dgm:prSet>
      <dgm:spPr/>
    </dgm:pt>
    <dgm:pt modelId="{61CD02C6-0BAC-4F95-8163-3862F29E69BC}" type="pres">
      <dgm:prSet presAssocID="{06B013F7-8B07-4C90-927B-C983698BF237}" presName="sp" presStyleCnt="0"/>
      <dgm:spPr/>
    </dgm:pt>
    <dgm:pt modelId="{699DBBE8-4940-4228-AE65-72126D83BD30}" type="pres">
      <dgm:prSet presAssocID="{5A29B0AF-3331-4D9A-92D3-ADA78A0ECF44}" presName="linNode" presStyleCnt="0"/>
      <dgm:spPr/>
    </dgm:pt>
    <dgm:pt modelId="{EF1E373D-375E-44D1-818E-2B22C80758D2}" type="pres">
      <dgm:prSet presAssocID="{5A29B0AF-3331-4D9A-92D3-ADA78A0ECF44}" presName="parentText" presStyleLbl="node1" presStyleIdx="1" presStyleCnt="4">
        <dgm:presLayoutVars>
          <dgm:chMax val="1"/>
          <dgm:bulletEnabled val="1"/>
        </dgm:presLayoutVars>
      </dgm:prSet>
      <dgm:spPr/>
    </dgm:pt>
    <dgm:pt modelId="{523D6C13-02B4-4F0C-A1AC-6FF58F30D680}" type="pres">
      <dgm:prSet presAssocID="{5A29B0AF-3331-4D9A-92D3-ADA78A0ECF44}" presName="descendantText" presStyleLbl="alignAccFollowNode1" presStyleIdx="1" presStyleCnt="4" custScaleX="62488">
        <dgm:presLayoutVars>
          <dgm:bulletEnabled val="1"/>
        </dgm:presLayoutVars>
      </dgm:prSet>
      <dgm:spPr/>
    </dgm:pt>
    <dgm:pt modelId="{F807D7F7-3174-4202-968E-039B101F13A8}" type="pres">
      <dgm:prSet presAssocID="{4A94B962-4C43-437C-B2C8-673C5FB18872}" presName="sp" presStyleCnt="0"/>
      <dgm:spPr/>
    </dgm:pt>
    <dgm:pt modelId="{F117AB41-60C2-4CB9-81BE-ED9324D65E76}" type="pres">
      <dgm:prSet presAssocID="{AAF93239-A2BD-4072-960E-6E54F3ED1D68}" presName="linNode" presStyleCnt="0"/>
      <dgm:spPr/>
    </dgm:pt>
    <dgm:pt modelId="{2286041A-9FB4-4477-B3E9-98372537A18B}" type="pres">
      <dgm:prSet presAssocID="{AAF93239-A2BD-4072-960E-6E54F3ED1D68}" presName="parentText" presStyleLbl="node1" presStyleIdx="2" presStyleCnt="4">
        <dgm:presLayoutVars>
          <dgm:chMax val="1"/>
          <dgm:bulletEnabled val="1"/>
        </dgm:presLayoutVars>
      </dgm:prSet>
      <dgm:spPr/>
    </dgm:pt>
    <dgm:pt modelId="{3A34A0BD-4E35-496F-98AB-86EC5F71917C}" type="pres">
      <dgm:prSet presAssocID="{AAF93239-A2BD-4072-960E-6E54F3ED1D68}" presName="descendantText" presStyleLbl="alignAccFollowNode1" presStyleIdx="2" presStyleCnt="4" custScaleX="63639">
        <dgm:presLayoutVars>
          <dgm:bulletEnabled val="1"/>
        </dgm:presLayoutVars>
      </dgm:prSet>
      <dgm:spPr/>
    </dgm:pt>
    <dgm:pt modelId="{A4F8A3E2-CEA3-4286-AA66-2CF104D5B087}" type="pres">
      <dgm:prSet presAssocID="{87416AD3-27A6-45B2-B6EE-00D013D93CCE}" presName="sp" presStyleCnt="0"/>
      <dgm:spPr/>
    </dgm:pt>
    <dgm:pt modelId="{FF9F36FF-E79E-4818-82E4-E7D2BE6C099F}" type="pres">
      <dgm:prSet presAssocID="{108DE409-6494-414A-84BA-93D19A4105D9}" presName="linNode" presStyleCnt="0"/>
      <dgm:spPr/>
    </dgm:pt>
    <dgm:pt modelId="{9AA34FBC-4708-494E-AED6-02B6401FB974}" type="pres">
      <dgm:prSet presAssocID="{108DE409-6494-414A-84BA-93D19A4105D9}" presName="parentText" presStyleLbl="node1" presStyleIdx="3" presStyleCnt="4">
        <dgm:presLayoutVars>
          <dgm:chMax val="1"/>
          <dgm:bulletEnabled val="1"/>
        </dgm:presLayoutVars>
      </dgm:prSet>
      <dgm:spPr/>
    </dgm:pt>
    <dgm:pt modelId="{04038657-1E06-460F-B7EF-492271199646}" type="pres">
      <dgm:prSet presAssocID="{108DE409-6494-414A-84BA-93D19A4105D9}" presName="descendantText" presStyleLbl="alignAccFollowNode1" presStyleIdx="3" presStyleCnt="4" custScaleX="63639">
        <dgm:presLayoutVars>
          <dgm:bulletEnabled val="1"/>
        </dgm:presLayoutVars>
      </dgm:prSet>
      <dgm:spPr/>
    </dgm:pt>
  </dgm:ptLst>
  <dgm:cxnLst>
    <dgm:cxn modelId="{AEBA3F0C-5381-4C49-8C7C-9623C9514300}" srcId="{108DE409-6494-414A-84BA-93D19A4105D9}" destId="{8C49A147-5436-4F7C-809B-4165382C7527}" srcOrd="0" destOrd="0" parTransId="{D5D77E0C-0276-4363-8DA9-39E2B5C89F9B}" sibTransId="{D049BBA1-ABAA-494A-ABF0-533ECA8E4C93}"/>
    <dgm:cxn modelId="{483CBE10-4861-4040-B958-C070976FB97A}" srcId="{22887B70-A13C-49A4-9466-20BF01E98D9C}" destId="{5A29B0AF-3331-4D9A-92D3-ADA78A0ECF44}" srcOrd="1" destOrd="0" parTransId="{5DF26564-9399-4D7C-8FD8-62609E48BB41}" sibTransId="{4A94B962-4C43-437C-B2C8-673C5FB18872}"/>
    <dgm:cxn modelId="{FA7F3D2D-DDCB-455A-8E98-010660DA2928}" type="presOf" srcId="{8C49A147-5436-4F7C-809B-4165382C7527}" destId="{04038657-1E06-460F-B7EF-492271199646}" srcOrd="0" destOrd="0" presId="urn:microsoft.com/office/officeart/2005/8/layout/vList5"/>
    <dgm:cxn modelId="{CF9BCE31-610A-4193-8582-7270644443AF}" type="presOf" srcId="{108DE409-6494-414A-84BA-93D19A4105D9}" destId="{9AA34FBC-4708-494E-AED6-02B6401FB974}" srcOrd="0" destOrd="0" presId="urn:microsoft.com/office/officeart/2005/8/layout/vList5"/>
    <dgm:cxn modelId="{7A91C662-60B6-418D-817A-A4888564D46D}" srcId="{22887B70-A13C-49A4-9466-20BF01E98D9C}" destId="{108DE409-6494-414A-84BA-93D19A4105D9}" srcOrd="3" destOrd="0" parTransId="{E84C2EB0-3D08-417C-BBB5-5E81FC5E280C}" sibTransId="{ADD6FEAA-F25D-483B-B202-C27F2CEFCEDA}"/>
    <dgm:cxn modelId="{9A1FAD48-948D-484B-B891-0676CED5B9AC}" srcId="{5A29B0AF-3331-4D9A-92D3-ADA78A0ECF44}" destId="{04BFEBAE-D6E5-4DC9-B1EE-4A1F0C24B4F3}" srcOrd="0" destOrd="0" parTransId="{7209D620-A5DB-4175-A02F-69C1B7A690D4}" sibTransId="{CE3781B7-8744-4A10-A84A-5F3056F823B0}"/>
    <dgm:cxn modelId="{E0FD7C87-5013-4647-98C2-86328DB68B30}" srcId="{BE21E8F2-2A19-4650-9941-8E906D9E7DCE}" destId="{7777B11E-6218-4A89-86BA-14B0EB96A066}" srcOrd="0" destOrd="0" parTransId="{348FABE5-628A-4678-9EF5-56B77F54273E}" sibTransId="{06B1D9D4-1F32-4D0C-97C9-251713DC2B66}"/>
    <dgm:cxn modelId="{167C0888-40B3-4527-80F9-8088F40AD2C4}" srcId="{AAF93239-A2BD-4072-960E-6E54F3ED1D68}" destId="{74FDEAD5-A975-436A-920C-C1D3048B8B99}" srcOrd="0" destOrd="0" parTransId="{A9ABB338-FF4D-41EE-8A84-B1EEDE35B8F9}" sibTransId="{63028611-82E2-46F2-96EC-4451A20CA19D}"/>
    <dgm:cxn modelId="{387B6398-C82B-4098-9D06-C56E101B7022}" type="presOf" srcId="{7777B11E-6218-4A89-86BA-14B0EB96A066}" destId="{0739355C-4ACA-43E2-ABB7-4E7EC59F8F3D}" srcOrd="0" destOrd="0" presId="urn:microsoft.com/office/officeart/2005/8/layout/vList5"/>
    <dgm:cxn modelId="{0B82EAA1-0E8F-4905-8851-1C81DC8ACA29}" type="presOf" srcId="{5A29B0AF-3331-4D9A-92D3-ADA78A0ECF44}" destId="{EF1E373D-375E-44D1-818E-2B22C80758D2}" srcOrd="0" destOrd="0" presId="urn:microsoft.com/office/officeart/2005/8/layout/vList5"/>
    <dgm:cxn modelId="{FFB5A2A6-4710-4D60-9391-1847D15EFB6F}" srcId="{22887B70-A13C-49A4-9466-20BF01E98D9C}" destId="{AAF93239-A2BD-4072-960E-6E54F3ED1D68}" srcOrd="2" destOrd="0" parTransId="{C0EDF1D5-A135-40ED-90AB-93B9D6AEC1DB}" sibTransId="{87416AD3-27A6-45B2-B6EE-00D013D93CCE}"/>
    <dgm:cxn modelId="{0CADBCB0-81CE-4B3A-ABA2-BBD7188A7899}" type="presOf" srcId="{AAF93239-A2BD-4072-960E-6E54F3ED1D68}" destId="{2286041A-9FB4-4477-B3E9-98372537A18B}" srcOrd="0" destOrd="0" presId="urn:microsoft.com/office/officeart/2005/8/layout/vList5"/>
    <dgm:cxn modelId="{00B08BC9-74DC-4939-A5F6-F5E0F8551982}" type="presOf" srcId="{BE21E8F2-2A19-4650-9941-8E906D9E7DCE}" destId="{A0A7EAD1-B8F7-4083-97A3-D30630F612DD}" srcOrd="0" destOrd="0" presId="urn:microsoft.com/office/officeart/2005/8/layout/vList5"/>
    <dgm:cxn modelId="{53EADED0-7857-490A-B4CB-662A70E3E94D}" type="presOf" srcId="{04BFEBAE-D6E5-4DC9-B1EE-4A1F0C24B4F3}" destId="{523D6C13-02B4-4F0C-A1AC-6FF58F30D680}" srcOrd="0" destOrd="0" presId="urn:microsoft.com/office/officeart/2005/8/layout/vList5"/>
    <dgm:cxn modelId="{A370CBEA-3EB7-462A-9163-4FDB26130C98}" srcId="{22887B70-A13C-49A4-9466-20BF01E98D9C}" destId="{BE21E8F2-2A19-4650-9941-8E906D9E7DCE}" srcOrd="0" destOrd="0" parTransId="{E4B78A66-C47D-4CEC-9093-F2BC87EFBA33}" sibTransId="{06B013F7-8B07-4C90-927B-C983698BF237}"/>
    <dgm:cxn modelId="{E097F1F0-6AD3-48ED-92F6-B10D76E7F897}" type="presOf" srcId="{22887B70-A13C-49A4-9466-20BF01E98D9C}" destId="{AC892223-8AAC-49E1-A618-C29312A07EDB}" srcOrd="0" destOrd="0" presId="urn:microsoft.com/office/officeart/2005/8/layout/vList5"/>
    <dgm:cxn modelId="{39E5CCF6-76BA-4804-9190-BB2D45C122A1}" type="presOf" srcId="{74FDEAD5-A975-436A-920C-C1D3048B8B99}" destId="{3A34A0BD-4E35-496F-98AB-86EC5F71917C}" srcOrd="0" destOrd="0" presId="urn:microsoft.com/office/officeart/2005/8/layout/vList5"/>
    <dgm:cxn modelId="{142FB094-226F-465E-8BE3-928D877EC249}" type="presParOf" srcId="{AC892223-8AAC-49E1-A618-C29312A07EDB}" destId="{E4023BF6-511D-4C7F-9537-0ACE57A07B4C}" srcOrd="0" destOrd="0" presId="urn:microsoft.com/office/officeart/2005/8/layout/vList5"/>
    <dgm:cxn modelId="{DDF6C422-8744-458C-9F33-0B9187BE3E51}" type="presParOf" srcId="{E4023BF6-511D-4C7F-9537-0ACE57A07B4C}" destId="{A0A7EAD1-B8F7-4083-97A3-D30630F612DD}" srcOrd="0" destOrd="0" presId="urn:microsoft.com/office/officeart/2005/8/layout/vList5"/>
    <dgm:cxn modelId="{63F2638D-5205-4EA4-ADC6-A47911960B71}" type="presParOf" srcId="{E4023BF6-511D-4C7F-9537-0ACE57A07B4C}" destId="{0739355C-4ACA-43E2-ABB7-4E7EC59F8F3D}" srcOrd="1" destOrd="0" presId="urn:microsoft.com/office/officeart/2005/8/layout/vList5"/>
    <dgm:cxn modelId="{8585B184-1496-4B6E-9D85-7A986DBA86B3}" type="presParOf" srcId="{AC892223-8AAC-49E1-A618-C29312A07EDB}" destId="{61CD02C6-0BAC-4F95-8163-3862F29E69BC}" srcOrd="1" destOrd="0" presId="urn:microsoft.com/office/officeart/2005/8/layout/vList5"/>
    <dgm:cxn modelId="{9B23C579-D9DD-4DC2-A5BC-91BCD23A5FB6}" type="presParOf" srcId="{AC892223-8AAC-49E1-A618-C29312A07EDB}" destId="{699DBBE8-4940-4228-AE65-72126D83BD30}" srcOrd="2" destOrd="0" presId="urn:microsoft.com/office/officeart/2005/8/layout/vList5"/>
    <dgm:cxn modelId="{DA9216FA-314C-4D08-8040-B47DF5E715FA}" type="presParOf" srcId="{699DBBE8-4940-4228-AE65-72126D83BD30}" destId="{EF1E373D-375E-44D1-818E-2B22C80758D2}" srcOrd="0" destOrd="0" presId="urn:microsoft.com/office/officeart/2005/8/layout/vList5"/>
    <dgm:cxn modelId="{D825919A-7FB5-42DC-84D4-57E0DD1CCD40}" type="presParOf" srcId="{699DBBE8-4940-4228-AE65-72126D83BD30}" destId="{523D6C13-02B4-4F0C-A1AC-6FF58F30D680}" srcOrd="1" destOrd="0" presId="urn:microsoft.com/office/officeart/2005/8/layout/vList5"/>
    <dgm:cxn modelId="{4CCEEF31-1A16-41EA-8ED3-3DACC269831C}" type="presParOf" srcId="{AC892223-8AAC-49E1-A618-C29312A07EDB}" destId="{F807D7F7-3174-4202-968E-039B101F13A8}" srcOrd="3" destOrd="0" presId="urn:microsoft.com/office/officeart/2005/8/layout/vList5"/>
    <dgm:cxn modelId="{BE662534-F2A1-43EF-BCBD-B47CA084F36E}" type="presParOf" srcId="{AC892223-8AAC-49E1-A618-C29312A07EDB}" destId="{F117AB41-60C2-4CB9-81BE-ED9324D65E76}" srcOrd="4" destOrd="0" presId="urn:microsoft.com/office/officeart/2005/8/layout/vList5"/>
    <dgm:cxn modelId="{391DC2ED-5A5C-4B52-9C5F-018951266AE4}" type="presParOf" srcId="{F117AB41-60C2-4CB9-81BE-ED9324D65E76}" destId="{2286041A-9FB4-4477-B3E9-98372537A18B}" srcOrd="0" destOrd="0" presId="urn:microsoft.com/office/officeart/2005/8/layout/vList5"/>
    <dgm:cxn modelId="{7A4D6F39-EE41-4476-8C71-E80E0FF4875B}" type="presParOf" srcId="{F117AB41-60C2-4CB9-81BE-ED9324D65E76}" destId="{3A34A0BD-4E35-496F-98AB-86EC5F71917C}" srcOrd="1" destOrd="0" presId="urn:microsoft.com/office/officeart/2005/8/layout/vList5"/>
    <dgm:cxn modelId="{1B8A8E75-D875-4092-817B-7E32E5261AE4}" type="presParOf" srcId="{AC892223-8AAC-49E1-A618-C29312A07EDB}" destId="{A4F8A3E2-CEA3-4286-AA66-2CF104D5B087}" srcOrd="5" destOrd="0" presId="urn:microsoft.com/office/officeart/2005/8/layout/vList5"/>
    <dgm:cxn modelId="{84FA1A65-9EFB-4E02-B59B-F919A8871780}" type="presParOf" srcId="{AC892223-8AAC-49E1-A618-C29312A07EDB}" destId="{FF9F36FF-E79E-4818-82E4-E7D2BE6C099F}" srcOrd="6" destOrd="0" presId="urn:microsoft.com/office/officeart/2005/8/layout/vList5"/>
    <dgm:cxn modelId="{37AED83F-A082-48DC-9F56-8A817DD45C99}" type="presParOf" srcId="{FF9F36FF-E79E-4818-82E4-E7D2BE6C099F}" destId="{9AA34FBC-4708-494E-AED6-02B6401FB974}" srcOrd="0" destOrd="0" presId="urn:microsoft.com/office/officeart/2005/8/layout/vList5"/>
    <dgm:cxn modelId="{5127EC8C-3EDA-4192-8A76-F665FE44F6B3}" type="presParOf" srcId="{FF9F36FF-E79E-4818-82E4-E7D2BE6C099F}" destId="{04038657-1E06-460F-B7EF-492271199646}" srcOrd="1" destOrd="0" presId="urn:microsoft.com/office/officeart/2005/8/layout/vList5"/>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739355C-4ACA-43E2-ABB7-4E7EC59F8F3D}">
      <dsp:nvSpPr>
        <dsp:cNvPr id="0" name=""/>
        <dsp:cNvSpPr/>
      </dsp:nvSpPr>
      <dsp:spPr>
        <a:xfrm rot="5400000">
          <a:off x="3373306" y="-690034"/>
          <a:ext cx="679610" cy="2233114"/>
        </a:xfrm>
        <a:prstGeom prst="round2SameRect">
          <a:avLst/>
        </a:prstGeom>
        <a:solidFill>
          <a:schemeClr val="accent5">
            <a:tint val="40000"/>
            <a:alpha val="90000"/>
            <a:hueOff val="0"/>
            <a:satOff val="0"/>
            <a:lumOff val="0"/>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85750" lvl="1" indent="-285750" algn="l" defTabSz="1333500" rtl="0">
            <a:lnSpc>
              <a:spcPct val="90000"/>
            </a:lnSpc>
            <a:spcBef>
              <a:spcPct val="0"/>
            </a:spcBef>
            <a:spcAft>
              <a:spcPct val="15000"/>
            </a:spcAft>
            <a:buChar char="•"/>
          </a:pPr>
          <a:r>
            <a:rPr lang="es-ES" altLang="en-US" sz="3000" kern="1200" dirty="0">
              <a:solidFill>
                <a:srgbClr val="336699"/>
              </a:solidFill>
              <a:latin typeface="Verdana" panose="020B0604030504040204" pitchFamily="34" charset="0"/>
              <a:ea typeface="Verdana" panose="020B0604030504040204" pitchFamily="34" charset="0"/>
              <a:cs typeface="Verdana" panose="020B0604030504040204" pitchFamily="34" charset="0"/>
            </a:rPr>
            <a:t>15/6 </a:t>
          </a:r>
          <a:endParaRPr lang="en-GB" sz="3000" kern="1200" dirty="0">
            <a:solidFill>
              <a:srgbClr val="336699"/>
            </a:solidFill>
            <a:latin typeface="Verdana" panose="020B0604030504040204" pitchFamily="34" charset="0"/>
            <a:ea typeface="Verdana" panose="020B0604030504040204" pitchFamily="34" charset="0"/>
            <a:cs typeface="Verdana" panose="020B0604030504040204" pitchFamily="34" charset="0"/>
          </a:endParaRPr>
        </a:p>
      </dsp:txBody>
      <dsp:txXfrm rot="-5400000">
        <a:off x="2596554" y="119894"/>
        <a:ext cx="2199938" cy="613258"/>
      </dsp:txXfrm>
    </dsp:sp>
    <dsp:sp modelId="{A0A7EAD1-B8F7-4083-97A3-D30630F612DD}">
      <dsp:nvSpPr>
        <dsp:cNvPr id="0" name=""/>
        <dsp:cNvSpPr/>
      </dsp:nvSpPr>
      <dsp:spPr>
        <a:xfrm>
          <a:off x="606809" y="22919"/>
          <a:ext cx="1973862" cy="849513"/>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s-ES" sz="3000" b="1" kern="1200" dirty="0">
              <a:latin typeface="Verdana" panose="020B0604030504040204" pitchFamily="34" charset="0"/>
              <a:ea typeface="Verdana" panose="020B0604030504040204" pitchFamily="34" charset="0"/>
              <a:cs typeface="Verdana" panose="020B0604030504040204" pitchFamily="34" charset="0"/>
            </a:rPr>
            <a:t>2015</a:t>
          </a:r>
        </a:p>
      </dsp:txBody>
      <dsp:txXfrm>
        <a:off x="648279" y="64389"/>
        <a:ext cx="1890922" cy="766573"/>
      </dsp:txXfrm>
    </dsp:sp>
    <dsp:sp modelId="{523D6C13-02B4-4F0C-A1AC-6FF58F30D680}">
      <dsp:nvSpPr>
        <dsp:cNvPr id="0" name=""/>
        <dsp:cNvSpPr/>
      </dsp:nvSpPr>
      <dsp:spPr>
        <a:xfrm rot="5400000">
          <a:off x="3368407" y="222132"/>
          <a:ext cx="679610" cy="2192759"/>
        </a:xfrm>
        <a:prstGeom prst="round2SameRect">
          <a:avLst/>
        </a:prstGeom>
        <a:solidFill>
          <a:schemeClr val="accent5">
            <a:tint val="40000"/>
            <a:alpha val="90000"/>
            <a:hueOff val="1081694"/>
            <a:satOff val="-7672"/>
            <a:lumOff val="-4365"/>
            <a:alphaOff val="0"/>
          </a:schemeClr>
        </a:solidFill>
        <a:ln w="25400" cap="flat" cmpd="sng" algn="ctr">
          <a:solidFill>
            <a:schemeClr val="accent5">
              <a:tint val="40000"/>
              <a:alpha val="90000"/>
              <a:hueOff val="1081694"/>
              <a:satOff val="-7672"/>
              <a:lumOff val="-436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85750" lvl="1" indent="-285750" algn="l" defTabSz="1333500" rtl="0">
            <a:lnSpc>
              <a:spcPct val="90000"/>
            </a:lnSpc>
            <a:spcBef>
              <a:spcPct val="0"/>
            </a:spcBef>
            <a:spcAft>
              <a:spcPct val="15000"/>
            </a:spcAft>
            <a:buChar char="•"/>
          </a:pPr>
          <a:r>
            <a:rPr lang="es-ES" altLang="en-US" sz="3000" kern="1200" dirty="0">
              <a:solidFill>
                <a:srgbClr val="336699"/>
              </a:solidFill>
              <a:latin typeface="Verdana" panose="020B0604030504040204" pitchFamily="34" charset="0"/>
              <a:ea typeface="Verdana" panose="020B0604030504040204" pitchFamily="34" charset="0"/>
              <a:cs typeface="Verdana" panose="020B0604030504040204" pitchFamily="34" charset="0"/>
            </a:rPr>
            <a:t>18/11 </a:t>
          </a:r>
          <a:endParaRPr lang="en-GB" sz="3000" kern="1200" dirty="0">
            <a:solidFill>
              <a:srgbClr val="336699"/>
            </a:solidFill>
            <a:latin typeface="Verdana" panose="020B0604030504040204" pitchFamily="34" charset="0"/>
            <a:ea typeface="Verdana" panose="020B0604030504040204" pitchFamily="34" charset="0"/>
            <a:cs typeface="Verdana" panose="020B0604030504040204" pitchFamily="34" charset="0"/>
          </a:endParaRPr>
        </a:p>
      </dsp:txBody>
      <dsp:txXfrm rot="-5400000">
        <a:off x="2611833" y="1011882"/>
        <a:ext cx="2159583" cy="613258"/>
      </dsp:txXfrm>
    </dsp:sp>
    <dsp:sp modelId="{EF1E373D-375E-44D1-818E-2B22C80758D2}">
      <dsp:nvSpPr>
        <dsp:cNvPr id="0" name=""/>
        <dsp:cNvSpPr/>
      </dsp:nvSpPr>
      <dsp:spPr>
        <a:xfrm>
          <a:off x="637969" y="893755"/>
          <a:ext cx="1973862" cy="849513"/>
        </a:xfrm>
        <a:prstGeom prst="roundRect">
          <a:avLst/>
        </a:prstGeom>
        <a:solidFill>
          <a:schemeClr val="accent5">
            <a:hueOff val="1085675"/>
            <a:satOff val="3732"/>
            <a:lumOff val="-1790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s-ES" sz="3000" b="1" kern="1200" dirty="0">
              <a:latin typeface="Verdana" panose="020B0604030504040204" pitchFamily="34" charset="0"/>
              <a:ea typeface="Verdana" panose="020B0604030504040204" pitchFamily="34" charset="0"/>
              <a:cs typeface="Verdana" panose="020B0604030504040204" pitchFamily="34" charset="0"/>
            </a:rPr>
            <a:t>2016</a:t>
          </a:r>
        </a:p>
      </dsp:txBody>
      <dsp:txXfrm>
        <a:off x="679439" y="935225"/>
        <a:ext cx="1890922" cy="766573"/>
      </dsp:txXfrm>
    </dsp:sp>
    <dsp:sp modelId="{3A34A0BD-4E35-496F-98AB-86EC5F71917C}">
      <dsp:nvSpPr>
        <dsp:cNvPr id="0" name=""/>
        <dsp:cNvSpPr/>
      </dsp:nvSpPr>
      <dsp:spPr>
        <a:xfrm rot="5400000">
          <a:off x="3388602" y="1093926"/>
          <a:ext cx="679610" cy="2233149"/>
        </a:xfrm>
        <a:prstGeom prst="round2SameRect">
          <a:avLst/>
        </a:prstGeom>
        <a:solidFill>
          <a:schemeClr val="accent5">
            <a:tint val="40000"/>
            <a:alpha val="90000"/>
            <a:hueOff val="2163389"/>
            <a:satOff val="-15343"/>
            <a:lumOff val="-8730"/>
            <a:alphaOff val="0"/>
          </a:schemeClr>
        </a:solidFill>
        <a:ln w="25400" cap="flat" cmpd="sng" algn="ctr">
          <a:solidFill>
            <a:schemeClr val="accent5">
              <a:tint val="40000"/>
              <a:alpha val="90000"/>
              <a:hueOff val="2163389"/>
              <a:satOff val="-15343"/>
              <a:lumOff val="-873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85750" lvl="1" indent="-285750" algn="l" defTabSz="1333500" rtl="0">
            <a:lnSpc>
              <a:spcPct val="90000"/>
            </a:lnSpc>
            <a:spcBef>
              <a:spcPct val="0"/>
            </a:spcBef>
            <a:spcAft>
              <a:spcPct val="15000"/>
            </a:spcAft>
            <a:buChar char="•"/>
          </a:pPr>
          <a:r>
            <a:rPr lang="es-ES" altLang="en-US" sz="3000" kern="1200" dirty="0">
              <a:solidFill>
                <a:srgbClr val="336699"/>
              </a:solidFill>
              <a:latin typeface="Verdana" panose="020B0604030504040204" pitchFamily="34" charset="0"/>
              <a:ea typeface="Verdana" panose="020B0604030504040204" pitchFamily="34" charset="0"/>
              <a:cs typeface="Verdana" panose="020B0604030504040204" pitchFamily="34" charset="0"/>
            </a:rPr>
            <a:t>16/10</a:t>
          </a:r>
          <a:endParaRPr lang="en-GB" sz="3000" kern="1200" dirty="0">
            <a:solidFill>
              <a:srgbClr val="336699"/>
            </a:solidFill>
            <a:latin typeface="Verdana" panose="020B0604030504040204" pitchFamily="34" charset="0"/>
            <a:ea typeface="Verdana" panose="020B0604030504040204" pitchFamily="34" charset="0"/>
            <a:cs typeface="Verdana" panose="020B0604030504040204" pitchFamily="34" charset="0"/>
          </a:endParaRPr>
        </a:p>
      </dsp:txBody>
      <dsp:txXfrm rot="-5400000">
        <a:off x="2611833" y="1903871"/>
        <a:ext cx="2199973" cy="613258"/>
      </dsp:txXfrm>
    </dsp:sp>
    <dsp:sp modelId="{2286041A-9FB4-4477-B3E9-98372537A18B}">
      <dsp:nvSpPr>
        <dsp:cNvPr id="0" name=""/>
        <dsp:cNvSpPr/>
      </dsp:nvSpPr>
      <dsp:spPr>
        <a:xfrm>
          <a:off x="637969" y="1785744"/>
          <a:ext cx="1973862" cy="849513"/>
        </a:xfrm>
        <a:prstGeom prst="roundRect">
          <a:avLst/>
        </a:prstGeom>
        <a:solidFill>
          <a:schemeClr val="accent5">
            <a:hueOff val="2171350"/>
            <a:satOff val="7464"/>
            <a:lumOff val="-3581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marL="0" lvl="0" indent="0" algn="ctr" defTabSz="1333500">
            <a:lnSpc>
              <a:spcPct val="90000"/>
            </a:lnSpc>
            <a:spcBef>
              <a:spcPct val="0"/>
            </a:spcBef>
            <a:spcAft>
              <a:spcPct val="35000"/>
            </a:spcAft>
            <a:buNone/>
          </a:pPr>
          <a:r>
            <a:rPr lang="es-ES" sz="3000" b="1" kern="1200" dirty="0">
              <a:latin typeface="Verdana" panose="020B0604030504040204" pitchFamily="34" charset="0"/>
              <a:ea typeface="Verdana" panose="020B0604030504040204" pitchFamily="34" charset="0"/>
              <a:cs typeface="Verdana" panose="020B0604030504040204" pitchFamily="34" charset="0"/>
            </a:rPr>
            <a:t>2017</a:t>
          </a:r>
        </a:p>
      </dsp:txBody>
      <dsp:txXfrm>
        <a:off x="679439" y="1827214"/>
        <a:ext cx="1890922" cy="766573"/>
      </dsp:txXfrm>
    </dsp:sp>
    <dsp:sp modelId="{04038657-1E06-460F-B7EF-492271199646}">
      <dsp:nvSpPr>
        <dsp:cNvPr id="0" name=""/>
        <dsp:cNvSpPr/>
      </dsp:nvSpPr>
      <dsp:spPr>
        <a:xfrm rot="5400000">
          <a:off x="3388602" y="1985915"/>
          <a:ext cx="679610" cy="2233149"/>
        </a:xfrm>
        <a:prstGeom prst="round2SameRect">
          <a:avLst/>
        </a:prstGeom>
        <a:solidFill>
          <a:schemeClr val="accent5">
            <a:tint val="40000"/>
            <a:alpha val="90000"/>
            <a:hueOff val="3245083"/>
            <a:satOff val="-23015"/>
            <a:lumOff val="-13095"/>
            <a:alphaOff val="0"/>
          </a:schemeClr>
        </a:solidFill>
        <a:ln w="25400" cap="flat" cmpd="sng" algn="ctr">
          <a:solidFill>
            <a:schemeClr val="accent5">
              <a:tint val="40000"/>
              <a:alpha val="90000"/>
              <a:hueOff val="3245083"/>
              <a:satOff val="-23015"/>
              <a:lumOff val="-13095"/>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285750" lvl="1" indent="-285750" algn="l" defTabSz="1333500" rtl="0">
            <a:lnSpc>
              <a:spcPct val="90000"/>
            </a:lnSpc>
            <a:spcBef>
              <a:spcPct val="0"/>
            </a:spcBef>
            <a:spcAft>
              <a:spcPct val="15000"/>
            </a:spcAft>
            <a:buChar char="•"/>
          </a:pPr>
          <a:r>
            <a:rPr lang="en-GB" sz="3000" kern="1200" dirty="0">
              <a:solidFill>
                <a:srgbClr val="336699"/>
              </a:solidFill>
              <a:latin typeface="Verdana" panose="020B0604030504040204" pitchFamily="34" charset="0"/>
              <a:ea typeface="Verdana" panose="020B0604030504040204" pitchFamily="34" charset="0"/>
              <a:cs typeface="Verdana" panose="020B0604030504040204" pitchFamily="34" charset="0"/>
            </a:rPr>
            <a:t>19/13 </a:t>
          </a:r>
        </a:p>
      </dsp:txBody>
      <dsp:txXfrm rot="-5400000">
        <a:off x="2611833" y="2795860"/>
        <a:ext cx="2199973" cy="613258"/>
      </dsp:txXfrm>
    </dsp:sp>
    <dsp:sp modelId="{9AA34FBC-4708-494E-AED6-02B6401FB974}">
      <dsp:nvSpPr>
        <dsp:cNvPr id="0" name=""/>
        <dsp:cNvSpPr/>
      </dsp:nvSpPr>
      <dsp:spPr>
        <a:xfrm>
          <a:off x="637969" y="2677733"/>
          <a:ext cx="1973862" cy="849513"/>
        </a:xfrm>
        <a:prstGeom prst="roundRect">
          <a:avLst/>
        </a:prstGeom>
        <a:solidFill>
          <a:schemeClr val="accent5">
            <a:hueOff val="3257024"/>
            <a:satOff val="11196"/>
            <a:lumOff val="-5372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57150" rIns="114300" bIns="57150" numCol="1" spcCol="1270" anchor="ctr" anchorCtr="0">
          <a:noAutofit/>
        </a:bodyPr>
        <a:lstStyle/>
        <a:p>
          <a:pPr marL="0" lvl="0" indent="0" algn="ctr" defTabSz="1333500" rtl="0">
            <a:lnSpc>
              <a:spcPct val="90000"/>
            </a:lnSpc>
            <a:spcBef>
              <a:spcPct val="0"/>
            </a:spcBef>
            <a:spcAft>
              <a:spcPct val="35000"/>
            </a:spcAft>
            <a:buNone/>
          </a:pPr>
          <a:r>
            <a:rPr lang="en-GB" sz="3000" kern="1200" dirty="0">
              <a:solidFill>
                <a:schemeClr val="bg1"/>
              </a:solidFill>
              <a:latin typeface="Verdana" panose="020B0604030504040204" pitchFamily="34" charset="0"/>
              <a:ea typeface="Verdana" panose="020B0604030504040204" pitchFamily="34" charset="0"/>
              <a:cs typeface="Verdana" panose="020B0604030504040204" pitchFamily="34" charset="0"/>
            </a:rPr>
            <a:t>2018</a:t>
          </a:r>
        </a:p>
      </dsp:txBody>
      <dsp:txXfrm>
        <a:off x="679439" y="2719203"/>
        <a:ext cx="1890922" cy="766573"/>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890" name="Rectangle 2"/>
          <p:cNvSpPr>
            <a:spLocks noGrp="1" noChangeArrowheads="1"/>
          </p:cNvSpPr>
          <p:nvPr>
            <p:ph type="hdr" sz="quarter"/>
          </p:nvPr>
        </p:nvSpPr>
        <p:spPr bwMode="auto">
          <a:xfrm>
            <a:off x="4" y="5"/>
            <a:ext cx="2972548"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736" tIns="45867" rIns="91736" bIns="45867" numCol="1" anchor="t" anchorCtr="0" compatLnSpc="1">
            <a:prstTxWarp prst="textNoShape">
              <a:avLst/>
            </a:prstTxWarp>
          </a:bodyPr>
          <a:lstStyle>
            <a:lvl1pPr>
              <a:defRPr>
                <a:solidFill>
                  <a:schemeClr val="tx1"/>
                </a:solidFill>
                <a:latin typeface="Arial" charset="0"/>
              </a:defRPr>
            </a:lvl1pPr>
          </a:lstStyle>
          <a:p>
            <a:endParaRPr lang="en-GB" altLang="en-US" dirty="0"/>
          </a:p>
        </p:txBody>
      </p:sp>
      <p:sp>
        <p:nvSpPr>
          <p:cNvPr id="37891" name="Rectangle 3"/>
          <p:cNvSpPr>
            <a:spLocks noGrp="1" noChangeArrowheads="1"/>
          </p:cNvSpPr>
          <p:nvPr>
            <p:ph type="dt" sz="quarter" idx="1"/>
          </p:nvPr>
        </p:nvSpPr>
        <p:spPr bwMode="auto">
          <a:xfrm>
            <a:off x="3883856" y="5"/>
            <a:ext cx="2972548"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736" tIns="45867" rIns="91736" bIns="45867" numCol="1" anchor="t" anchorCtr="0" compatLnSpc="1">
            <a:prstTxWarp prst="textNoShape">
              <a:avLst/>
            </a:prstTxWarp>
          </a:bodyPr>
          <a:lstStyle>
            <a:lvl1pPr algn="r">
              <a:defRPr>
                <a:solidFill>
                  <a:schemeClr val="tx1"/>
                </a:solidFill>
                <a:latin typeface="Arial" charset="0"/>
              </a:defRPr>
            </a:lvl1pPr>
          </a:lstStyle>
          <a:p>
            <a:endParaRPr lang="en-GB" altLang="en-US" dirty="0"/>
          </a:p>
        </p:txBody>
      </p:sp>
      <p:sp>
        <p:nvSpPr>
          <p:cNvPr id="37892" name="Rectangle 4"/>
          <p:cNvSpPr>
            <a:spLocks noGrp="1" noChangeArrowheads="1"/>
          </p:cNvSpPr>
          <p:nvPr>
            <p:ph type="ftr" sz="quarter" idx="2"/>
          </p:nvPr>
        </p:nvSpPr>
        <p:spPr bwMode="auto">
          <a:xfrm>
            <a:off x="4" y="9428164"/>
            <a:ext cx="2972548" cy="496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736" tIns="45867" rIns="91736" bIns="45867" numCol="1" anchor="b" anchorCtr="0" compatLnSpc="1">
            <a:prstTxWarp prst="textNoShape">
              <a:avLst/>
            </a:prstTxWarp>
          </a:bodyPr>
          <a:lstStyle>
            <a:lvl1pPr>
              <a:defRPr>
                <a:solidFill>
                  <a:schemeClr val="tx1"/>
                </a:solidFill>
                <a:latin typeface="Arial" charset="0"/>
              </a:defRPr>
            </a:lvl1pPr>
          </a:lstStyle>
          <a:p>
            <a:endParaRPr lang="en-GB" altLang="en-US" dirty="0"/>
          </a:p>
        </p:txBody>
      </p:sp>
      <p:sp>
        <p:nvSpPr>
          <p:cNvPr id="37893" name="Rectangle 5"/>
          <p:cNvSpPr>
            <a:spLocks noGrp="1" noChangeArrowheads="1"/>
          </p:cNvSpPr>
          <p:nvPr>
            <p:ph type="sldNum" sz="quarter" idx="3"/>
          </p:nvPr>
        </p:nvSpPr>
        <p:spPr bwMode="auto">
          <a:xfrm>
            <a:off x="3883856" y="9428164"/>
            <a:ext cx="2972548" cy="496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736" tIns="45867" rIns="91736" bIns="45867" numCol="1" anchor="b" anchorCtr="0" compatLnSpc="1">
            <a:prstTxWarp prst="textNoShape">
              <a:avLst/>
            </a:prstTxWarp>
          </a:bodyPr>
          <a:lstStyle>
            <a:lvl1pPr algn="r">
              <a:defRPr>
                <a:solidFill>
                  <a:schemeClr val="tx1"/>
                </a:solidFill>
                <a:latin typeface="Arial" charset="0"/>
              </a:defRPr>
            </a:lvl1pPr>
          </a:lstStyle>
          <a:p>
            <a:fld id="{8E6B12B6-30F9-4D6E-9909-B8F746D8B87C}" type="slidenum">
              <a:rPr lang="en-GB" altLang="en-US"/>
              <a:pPr/>
              <a:t>‹#›</a:t>
            </a:fld>
            <a:endParaRPr lang="en-GB" altLang="en-US" dirty="0"/>
          </a:p>
        </p:txBody>
      </p:sp>
    </p:spTree>
    <p:extLst>
      <p:ext uri="{BB962C8B-B14F-4D97-AF65-F5344CB8AC3E}">
        <p14:creationId xmlns:p14="http://schemas.microsoft.com/office/powerpoint/2010/main" val="10832353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6866" name="Rectangle 2"/>
          <p:cNvSpPr>
            <a:spLocks noGrp="1" noChangeArrowheads="1"/>
          </p:cNvSpPr>
          <p:nvPr>
            <p:ph type="hdr" sz="quarter"/>
          </p:nvPr>
        </p:nvSpPr>
        <p:spPr bwMode="auto">
          <a:xfrm>
            <a:off x="4" y="5"/>
            <a:ext cx="2972548"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736" tIns="45867" rIns="91736" bIns="45867" numCol="1" anchor="t" anchorCtr="0" compatLnSpc="1">
            <a:prstTxWarp prst="textNoShape">
              <a:avLst/>
            </a:prstTxWarp>
          </a:bodyPr>
          <a:lstStyle>
            <a:lvl1pPr>
              <a:defRPr>
                <a:solidFill>
                  <a:schemeClr val="tx1"/>
                </a:solidFill>
                <a:latin typeface="Arial" charset="0"/>
              </a:defRPr>
            </a:lvl1pPr>
          </a:lstStyle>
          <a:p>
            <a:endParaRPr lang="en-GB" altLang="en-US" dirty="0"/>
          </a:p>
        </p:txBody>
      </p:sp>
      <p:sp>
        <p:nvSpPr>
          <p:cNvPr id="36867" name="Rectangle 3"/>
          <p:cNvSpPr>
            <a:spLocks noGrp="1" noChangeArrowheads="1"/>
          </p:cNvSpPr>
          <p:nvPr>
            <p:ph type="dt" idx="1"/>
          </p:nvPr>
        </p:nvSpPr>
        <p:spPr bwMode="auto">
          <a:xfrm>
            <a:off x="3883856" y="5"/>
            <a:ext cx="2972548" cy="49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736" tIns="45867" rIns="91736" bIns="45867" numCol="1" anchor="t" anchorCtr="0" compatLnSpc="1">
            <a:prstTxWarp prst="textNoShape">
              <a:avLst/>
            </a:prstTxWarp>
          </a:bodyPr>
          <a:lstStyle>
            <a:lvl1pPr algn="r">
              <a:defRPr>
                <a:solidFill>
                  <a:schemeClr val="tx1"/>
                </a:solidFill>
                <a:latin typeface="Arial" charset="0"/>
              </a:defRPr>
            </a:lvl1pPr>
          </a:lstStyle>
          <a:p>
            <a:endParaRPr lang="en-GB" altLang="en-US" dirty="0"/>
          </a:p>
        </p:txBody>
      </p:sp>
      <p:sp>
        <p:nvSpPr>
          <p:cNvPr id="36868" name="Rectangle 4"/>
          <p:cNvSpPr>
            <a:spLocks noGrp="1" noRot="1" noChangeAspect="1" noChangeArrowheads="1" noTextEdit="1"/>
          </p:cNvSpPr>
          <p:nvPr>
            <p:ph type="sldImg" idx="2"/>
          </p:nvPr>
        </p:nvSpPr>
        <p:spPr bwMode="auto">
          <a:xfrm>
            <a:off x="949325" y="746125"/>
            <a:ext cx="4960938" cy="372110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36869" name="Rectangle 5"/>
          <p:cNvSpPr>
            <a:spLocks noGrp="1" noChangeArrowheads="1"/>
          </p:cNvSpPr>
          <p:nvPr>
            <p:ph type="body" sz="quarter" idx="3"/>
          </p:nvPr>
        </p:nvSpPr>
        <p:spPr bwMode="auto">
          <a:xfrm>
            <a:off x="685485" y="4714874"/>
            <a:ext cx="5487041" cy="44672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736" tIns="45867" rIns="91736" bIns="45867"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36870" name="Rectangle 6"/>
          <p:cNvSpPr>
            <a:spLocks noGrp="1" noChangeArrowheads="1"/>
          </p:cNvSpPr>
          <p:nvPr>
            <p:ph type="ftr" sz="quarter" idx="4"/>
          </p:nvPr>
        </p:nvSpPr>
        <p:spPr bwMode="auto">
          <a:xfrm>
            <a:off x="4" y="9428164"/>
            <a:ext cx="2972548" cy="496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736" tIns="45867" rIns="91736" bIns="45867" numCol="1" anchor="b" anchorCtr="0" compatLnSpc="1">
            <a:prstTxWarp prst="textNoShape">
              <a:avLst/>
            </a:prstTxWarp>
          </a:bodyPr>
          <a:lstStyle>
            <a:lvl1pPr>
              <a:defRPr>
                <a:solidFill>
                  <a:schemeClr val="tx1"/>
                </a:solidFill>
                <a:latin typeface="Arial" charset="0"/>
              </a:defRPr>
            </a:lvl1pPr>
          </a:lstStyle>
          <a:p>
            <a:endParaRPr lang="en-GB" altLang="en-US" dirty="0"/>
          </a:p>
        </p:txBody>
      </p:sp>
      <p:sp>
        <p:nvSpPr>
          <p:cNvPr id="36871" name="Rectangle 7"/>
          <p:cNvSpPr>
            <a:spLocks noGrp="1" noChangeArrowheads="1"/>
          </p:cNvSpPr>
          <p:nvPr>
            <p:ph type="sldNum" sz="quarter" idx="5"/>
          </p:nvPr>
        </p:nvSpPr>
        <p:spPr bwMode="auto">
          <a:xfrm>
            <a:off x="3883856" y="9428164"/>
            <a:ext cx="2972548" cy="496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736" tIns="45867" rIns="91736" bIns="45867" numCol="1" anchor="b" anchorCtr="0" compatLnSpc="1">
            <a:prstTxWarp prst="textNoShape">
              <a:avLst/>
            </a:prstTxWarp>
          </a:bodyPr>
          <a:lstStyle>
            <a:lvl1pPr algn="r">
              <a:defRPr>
                <a:solidFill>
                  <a:schemeClr val="tx1"/>
                </a:solidFill>
                <a:latin typeface="Arial" charset="0"/>
              </a:defRPr>
            </a:lvl1pPr>
          </a:lstStyle>
          <a:p>
            <a:fld id="{0092B2D2-748F-4979-AEA9-D42BA039DA45}" type="slidenum">
              <a:rPr lang="en-GB" altLang="en-US"/>
              <a:pPr/>
              <a:t>‹#›</a:t>
            </a:fld>
            <a:endParaRPr lang="en-GB" altLang="en-US" dirty="0"/>
          </a:p>
        </p:txBody>
      </p:sp>
    </p:spTree>
    <p:extLst>
      <p:ext uri="{BB962C8B-B14F-4D97-AF65-F5344CB8AC3E}">
        <p14:creationId xmlns:p14="http://schemas.microsoft.com/office/powerpoint/2010/main" val="3668340677"/>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 /><Relationship Id="rId1" Type="http://schemas.openxmlformats.org/officeDocument/2006/relationships/notesMaster" Target="../notesMasters/notesMaster1.xml" /></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 /><Relationship Id="rId1" Type="http://schemas.openxmlformats.org/officeDocument/2006/relationships/notesMaster" Target="../notesMasters/notesMaster1.xml" /></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 /><Relationship Id="rId1" Type="http://schemas.openxmlformats.org/officeDocument/2006/relationships/notesMaster" Target="../notesMasters/notesMaster1.xml" /></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 /><Relationship Id="rId1" Type="http://schemas.openxmlformats.org/officeDocument/2006/relationships/notesMaster" Target="../notesMasters/notesMaster1.xml" /></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 /><Relationship Id="rId1" Type="http://schemas.openxmlformats.org/officeDocument/2006/relationships/notesMaster" Target="../notesMasters/notesMaster1.xml" /></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 /><Relationship Id="rId1" Type="http://schemas.openxmlformats.org/officeDocument/2006/relationships/notesMaster" Target="../notesMasters/notesMaster1.xml" /></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 /><Relationship Id="rId1" Type="http://schemas.openxmlformats.org/officeDocument/2006/relationships/notesMaster" Target="../notesMasters/notesMaster1.xml" /></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 /><Relationship Id="rId1" Type="http://schemas.openxmlformats.org/officeDocument/2006/relationships/notesMaster" Target="../notesMasters/notesMaster1.xml" /></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 /><Relationship Id="rId1" Type="http://schemas.openxmlformats.org/officeDocument/2006/relationships/notesMaster" Target="../notesMasters/notesMaster1.xml" /></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 /><Relationship Id="rId1" Type="http://schemas.openxmlformats.org/officeDocument/2006/relationships/notesMaster" Target="../notesMasters/notesMaster1.xml" /></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 /><Relationship Id="rId1" Type="http://schemas.openxmlformats.org/officeDocument/2006/relationships/notesMaster" Target="../notesMasters/notesMaster1.xml" /></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 /><Relationship Id="rId1" Type="http://schemas.openxmlformats.org/officeDocument/2006/relationships/notesMaster" Target="../notesMasters/notesMaster1.xml" /></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 /><Relationship Id="rId1" Type="http://schemas.openxmlformats.org/officeDocument/2006/relationships/notesMaster" Target="../notesMasters/notesMaster1.xml" /></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 /><Relationship Id="rId1" Type="http://schemas.openxmlformats.org/officeDocument/2006/relationships/notesMaster" Target="../notesMasters/notesMaster1.xml" /></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 /><Relationship Id="rId1"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base" latinLnBrk="0" hangingPunct="1">
              <a:lnSpc>
                <a:spcPct val="100000"/>
              </a:lnSpc>
              <a:spcBef>
                <a:spcPct val="30000"/>
              </a:spcBef>
              <a:spcAft>
                <a:spcPct val="0"/>
              </a:spcAft>
              <a:buClrTx/>
              <a:buSzTx/>
              <a:buFontTx/>
              <a:buNone/>
              <a:tabLst/>
              <a:defRPr/>
            </a:pPr>
            <a:r>
              <a:rPr lang="fr-BE" dirty="0"/>
              <a:t>Introduction of the section and the people (EACEA)</a:t>
            </a:r>
            <a:endParaRPr lang="en-GB" dirty="0"/>
          </a:p>
          <a:p>
            <a:endParaRPr lang="en-GB" dirty="0"/>
          </a:p>
        </p:txBody>
      </p:sp>
      <p:sp>
        <p:nvSpPr>
          <p:cNvPr id="4" name="Slide Number Placeholder 3"/>
          <p:cNvSpPr>
            <a:spLocks noGrp="1"/>
          </p:cNvSpPr>
          <p:nvPr>
            <p:ph type="sldNum" sz="quarter" idx="10"/>
          </p:nvPr>
        </p:nvSpPr>
        <p:spPr/>
        <p:txBody>
          <a:bodyPr/>
          <a:lstStyle/>
          <a:p>
            <a:fld id="{6E67369E-CC8A-48EC-9EA0-A3569C435759}" type="slidenum">
              <a:rPr lang="en-GB" altLang="en-US" smtClean="0"/>
              <a:pPr/>
              <a:t>1</a:t>
            </a:fld>
            <a:endParaRPr lang="en-GB" altLang="en-US"/>
          </a:p>
        </p:txBody>
      </p:sp>
    </p:spTree>
    <p:extLst>
      <p:ext uri="{BB962C8B-B14F-4D97-AF65-F5344CB8AC3E}">
        <p14:creationId xmlns:p14="http://schemas.microsoft.com/office/powerpoint/2010/main" val="259211687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7350">
              <a:defRPr/>
            </a:pPr>
            <a:endParaRPr lang="en-GB" dirty="0"/>
          </a:p>
        </p:txBody>
      </p:sp>
      <p:sp>
        <p:nvSpPr>
          <p:cNvPr id="4" name="Slide Number Placeholder 3"/>
          <p:cNvSpPr>
            <a:spLocks noGrp="1"/>
          </p:cNvSpPr>
          <p:nvPr>
            <p:ph type="sldNum" sz="quarter" idx="10"/>
          </p:nvPr>
        </p:nvSpPr>
        <p:spPr/>
        <p:txBody>
          <a:bodyPr/>
          <a:lstStyle/>
          <a:p>
            <a:fld id="{0092B2D2-748F-4979-AEA9-D42BA039DA45}" type="slidenum">
              <a:rPr lang="en-GB" altLang="en-US" smtClean="0"/>
              <a:pPr/>
              <a:t>10</a:t>
            </a:fld>
            <a:endParaRPr lang="en-GB" altLang="en-US" dirty="0"/>
          </a:p>
        </p:txBody>
      </p:sp>
    </p:spTree>
    <p:extLst>
      <p:ext uri="{BB962C8B-B14F-4D97-AF65-F5344CB8AC3E}">
        <p14:creationId xmlns:p14="http://schemas.microsoft.com/office/powerpoint/2010/main" val="10538059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BE" dirty="0"/>
              <a:t>Distribution of the </a:t>
            </a:r>
            <a:r>
              <a:rPr lang="fr-BE" dirty="0" err="1"/>
              <a:t>card</a:t>
            </a:r>
            <a:endParaRPr lang="fr-BE" dirty="0"/>
          </a:p>
          <a:p>
            <a:r>
              <a:rPr lang="fr-BE" dirty="0" err="1"/>
              <a:t>They</a:t>
            </a:r>
            <a:r>
              <a:rPr lang="fr-BE" baseline="0" dirty="0"/>
              <a:t> to </a:t>
            </a:r>
            <a:r>
              <a:rPr lang="fr-BE" baseline="0" dirty="0" err="1"/>
              <a:t>find</a:t>
            </a:r>
            <a:r>
              <a:rPr lang="fr-BE" baseline="0" dirty="0"/>
              <a:t> </a:t>
            </a:r>
            <a:r>
              <a:rPr lang="fr-BE" baseline="0" dirty="0" err="1"/>
              <a:t>their</a:t>
            </a:r>
            <a:r>
              <a:rPr lang="fr-BE" baseline="0" dirty="0"/>
              <a:t> </a:t>
            </a:r>
            <a:r>
              <a:rPr lang="fr-BE" baseline="0" dirty="0" err="1"/>
              <a:t>similar</a:t>
            </a:r>
            <a:r>
              <a:rPr lang="fr-BE" baseline="0" dirty="0"/>
              <a:t>.</a:t>
            </a:r>
          </a:p>
          <a:p>
            <a:r>
              <a:rPr lang="fr-BE" baseline="0" dirty="0" err="1"/>
              <a:t>Result</a:t>
            </a:r>
            <a:r>
              <a:rPr lang="fr-BE" baseline="0" dirty="0"/>
              <a:t>: 5 </a:t>
            </a:r>
            <a:r>
              <a:rPr lang="fr-BE" baseline="0" dirty="0" err="1"/>
              <a:t>different</a:t>
            </a:r>
            <a:r>
              <a:rPr lang="fr-BE" baseline="0" dirty="0"/>
              <a:t> groups</a:t>
            </a:r>
            <a:endParaRPr lang="en-GB" dirty="0"/>
          </a:p>
          <a:p>
            <a:endParaRPr lang="en-GB" dirty="0"/>
          </a:p>
        </p:txBody>
      </p:sp>
      <p:sp>
        <p:nvSpPr>
          <p:cNvPr id="4" name="Slide Number Placeholder 3"/>
          <p:cNvSpPr>
            <a:spLocks noGrp="1"/>
          </p:cNvSpPr>
          <p:nvPr>
            <p:ph type="sldNum" sz="quarter" idx="10"/>
          </p:nvPr>
        </p:nvSpPr>
        <p:spPr/>
        <p:txBody>
          <a:bodyPr/>
          <a:lstStyle/>
          <a:p>
            <a:fld id="{0092B2D2-748F-4979-AEA9-D42BA039DA45}" type="slidenum">
              <a:rPr lang="en-GB" altLang="en-US" smtClean="0"/>
              <a:pPr/>
              <a:t>11</a:t>
            </a:fld>
            <a:endParaRPr lang="en-GB" altLang="en-US" dirty="0"/>
          </a:p>
        </p:txBody>
      </p:sp>
    </p:spTree>
    <p:extLst>
      <p:ext uri="{BB962C8B-B14F-4D97-AF65-F5344CB8AC3E}">
        <p14:creationId xmlns:p14="http://schemas.microsoft.com/office/powerpoint/2010/main" val="34765213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0092B2D2-748F-4979-AEA9-D42BA039DA45}" type="slidenum">
              <a:rPr lang="en-GB" altLang="en-US" smtClean="0"/>
              <a:pPr/>
              <a:t>12</a:t>
            </a:fld>
            <a:endParaRPr lang="en-GB" altLang="en-US" dirty="0"/>
          </a:p>
        </p:txBody>
      </p:sp>
    </p:spTree>
    <p:extLst>
      <p:ext uri="{BB962C8B-B14F-4D97-AF65-F5344CB8AC3E}">
        <p14:creationId xmlns:p14="http://schemas.microsoft.com/office/powerpoint/2010/main" val="11384616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7350" rtl="0" eaLnBrk="1" fontAlgn="base" latinLnBrk="0" hangingPunct="1">
              <a:lnSpc>
                <a:spcPct val="100000"/>
              </a:lnSpc>
              <a:spcBef>
                <a:spcPct val="30000"/>
              </a:spcBef>
              <a:spcAft>
                <a:spcPct val="0"/>
              </a:spcAft>
              <a:buClrTx/>
              <a:buSzTx/>
              <a:buFontTx/>
              <a:buNone/>
              <a:tabLst/>
              <a:defRPr/>
            </a:pPr>
            <a:r>
              <a:rPr lang="fr-BE" dirty="0"/>
              <a:t>Distribution of questions per </a:t>
            </a:r>
            <a:r>
              <a:rPr lang="fr-BE" dirty="0" err="1"/>
              <a:t>each</a:t>
            </a:r>
            <a:r>
              <a:rPr lang="fr-BE" dirty="0"/>
              <a:t> group and discussion</a:t>
            </a:r>
            <a:endParaRPr lang="en-GB" dirty="0"/>
          </a:p>
          <a:p>
            <a:pPr defTabSz="917350">
              <a:defRPr/>
            </a:pPr>
            <a:endParaRPr lang="en-GB" dirty="0"/>
          </a:p>
        </p:txBody>
      </p:sp>
      <p:sp>
        <p:nvSpPr>
          <p:cNvPr id="4" name="Slide Number Placeholder 3"/>
          <p:cNvSpPr>
            <a:spLocks noGrp="1"/>
          </p:cNvSpPr>
          <p:nvPr>
            <p:ph type="sldNum" sz="quarter" idx="10"/>
          </p:nvPr>
        </p:nvSpPr>
        <p:spPr/>
        <p:txBody>
          <a:bodyPr/>
          <a:lstStyle/>
          <a:p>
            <a:fld id="{0092B2D2-748F-4979-AEA9-D42BA039DA45}" type="slidenum">
              <a:rPr lang="en-GB" altLang="en-US" smtClean="0"/>
              <a:pPr/>
              <a:t>13</a:t>
            </a:fld>
            <a:endParaRPr lang="en-GB" altLang="en-US" dirty="0"/>
          </a:p>
        </p:txBody>
      </p:sp>
    </p:spTree>
    <p:extLst>
      <p:ext uri="{BB962C8B-B14F-4D97-AF65-F5344CB8AC3E}">
        <p14:creationId xmlns:p14="http://schemas.microsoft.com/office/powerpoint/2010/main" val="10538059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7350">
              <a:defRPr/>
            </a:pPr>
            <a:endParaRPr lang="en-GB" dirty="0"/>
          </a:p>
        </p:txBody>
      </p:sp>
      <p:sp>
        <p:nvSpPr>
          <p:cNvPr id="4" name="Slide Number Placeholder 3"/>
          <p:cNvSpPr>
            <a:spLocks noGrp="1"/>
          </p:cNvSpPr>
          <p:nvPr>
            <p:ph type="sldNum" sz="quarter" idx="10"/>
          </p:nvPr>
        </p:nvSpPr>
        <p:spPr/>
        <p:txBody>
          <a:bodyPr/>
          <a:lstStyle/>
          <a:p>
            <a:fld id="{0092B2D2-748F-4979-AEA9-D42BA039DA45}" type="slidenum">
              <a:rPr lang="en-GB" altLang="en-US" smtClean="0"/>
              <a:pPr/>
              <a:t>14</a:t>
            </a:fld>
            <a:endParaRPr lang="en-GB" altLang="en-US" dirty="0"/>
          </a:p>
        </p:txBody>
      </p:sp>
    </p:spTree>
    <p:extLst>
      <p:ext uri="{BB962C8B-B14F-4D97-AF65-F5344CB8AC3E}">
        <p14:creationId xmlns:p14="http://schemas.microsoft.com/office/powerpoint/2010/main" val="10538059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7350">
              <a:defRPr/>
            </a:pPr>
            <a:endParaRPr lang="en-GB" dirty="0"/>
          </a:p>
        </p:txBody>
      </p:sp>
      <p:sp>
        <p:nvSpPr>
          <p:cNvPr id="4" name="Slide Number Placeholder 3"/>
          <p:cNvSpPr>
            <a:spLocks noGrp="1"/>
          </p:cNvSpPr>
          <p:nvPr>
            <p:ph type="sldNum" sz="quarter" idx="10"/>
          </p:nvPr>
        </p:nvSpPr>
        <p:spPr/>
        <p:txBody>
          <a:bodyPr/>
          <a:lstStyle/>
          <a:p>
            <a:fld id="{0092B2D2-748F-4979-AEA9-D42BA039DA45}" type="slidenum">
              <a:rPr lang="en-GB" altLang="en-US" smtClean="0"/>
              <a:pPr/>
              <a:t>15</a:t>
            </a:fld>
            <a:endParaRPr lang="en-GB" altLang="en-US" dirty="0"/>
          </a:p>
        </p:txBody>
      </p:sp>
    </p:spTree>
    <p:extLst>
      <p:ext uri="{BB962C8B-B14F-4D97-AF65-F5344CB8AC3E}">
        <p14:creationId xmlns:p14="http://schemas.microsoft.com/office/powerpoint/2010/main" val="10538059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fld id="{0092B2D2-748F-4979-AEA9-D42BA039DA45}" type="slidenum">
              <a:rPr lang="en-GB" altLang="en-US" smtClean="0"/>
              <a:pPr/>
              <a:t>2</a:t>
            </a:fld>
            <a:endParaRPr lang="en-GB" altLang="en-US" dirty="0"/>
          </a:p>
        </p:txBody>
      </p:sp>
    </p:spTree>
    <p:extLst>
      <p:ext uri="{BB962C8B-B14F-4D97-AF65-F5344CB8AC3E}">
        <p14:creationId xmlns:p14="http://schemas.microsoft.com/office/powerpoint/2010/main" val="952270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7350">
              <a:defRPr/>
            </a:pPr>
            <a:r>
              <a:rPr lang="en-GB" baseline="0" dirty="0"/>
              <a:t>AL – 6</a:t>
            </a:r>
          </a:p>
          <a:p>
            <a:pPr defTabSz="917350">
              <a:defRPr/>
            </a:pPr>
            <a:r>
              <a:rPr lang="en-GB" baseline="0" dirty="0"/>
              <a:t>BA – 8</a:t>
            </a:r>
          </a:p>
          <a:p>
            <a:pPr defTabSz="917350">
              <a:defRPr/>
            </a:pPr>
            <a:r>
              <a:rPr lang="en-GB" baseline="0" dirty="0"/>
              <a:t>ME – 6</a:t>
            </a:r>
          </a:p>
          <a:p>
            <a:pPr defTabSz="917350">
              <a:defRPr/>
            </a:pPr>
            <a:r>
              <a:rPr lang="en-GB" baseline="0" dirty="0"/>
              <a:t>RS – 12</a:t>
            </a:r>
          </a:p>
          <a:p>
            <a:pPr defTabSz="917350">
              <a:defRPr/>
            </a:pPr>
            <a:r>
              <a:rPr lang="en-GB" baseline="0" dirty="0"/>
              <a:t>XK – 6</a:t>
            </a:r>
          </a:p>
          <a:p>
            <a:pPr defTabSz="917350">
              <a:defRPr/>
            </a:pPr>
            <a:endParaRPr lang="en-GB" baseline="0" dirty="0"/>
          </a:p>
          <a:p>
            <a:pPr defTabSz="917350">
              <a:defRPr/>
            </a:pPr>
            <a:endParaRPr lang="en-GB" baseline="0" dirty="0"/>
          </a:p>
        </p:txBody>
      </p:sp>
      <p:sp>
        <p:nvSpPr>
          <p:cNvPr id="4" name="Slide Number Placeholder 3"/>
          <p:cNvSpPr>
            <a:spLocks noGrp="1"/>
          </p:cNvSpPr>
          <p:nvPr>
            <p:ph type="sldNum" sz="quarter" idx="10"/>
          </p:nvPr>
        </p:nvSpPr>
        <p:spPr/>
        <p:txBody>
          <a:bodyPr/>
          <a:lstStyle/>
          <a:p>
            <a:fld id="{0092B2D2-748F-4979-AEA9-D42BA039DA45}" type="slidenum">
              <a:rPr lang="en-GB" altLang="en-US" smtClean="0"/>
              <a:pPr/>
              <a:t>3</a:t>
            </a:fld>
            <a:endParaRPr lang="en-GB" altLang="en-US" dirty="0"/>
          </a:p>
        </p:txBody>
      </p:sp>
    </p:spTree>
    <p:extLst>
      <p:ext uri="{BB962C8B-B14F-4D97-AF65-F5344CB8AC3E}">
        <p14:creationId xmlns:p14="http://schemas.microsoft.com/office/powerpoint/2010/main" val="18524790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7350">
              <a:defRPr/>
            </a:pPr>
            <a:r>
              <a:rPr lang="en-GB" sz="1200" b="1" i="0" u="none" strike="noStrike" kern="1200" dirty="0">
                <a:solidFill>
                  <a:schemeClr val="tx1"/>
                </a:solidFill>
                <a:effectLst/>
                <a:latin typeface="Arial" charset="0"/>
                <a:ea typeface="+mn-ea"/>
                <a:cs typeface="+mn-cs"/>
              </a:rPr>
              <a:t>partner</a:t>
            </a:r>
            <a:r>
              <a:rPr lang="en-GB" b="1" dirty="0"/>
              <a:t> /</a:t>
            </a:r>
            <a:r>
              <a:rPr lang="en-GB" b="1" baseline="0" dirty="0"/>
              <a:t> </a:t>
            </a:r>
            <a:r>
              <a:rPr lang="en-GB" sz="1200" b="1" i="0" u="none" strike="noStrike" kern="1200" dirty="0">
                <a:solidFill>
                  <a:schemeClr val="tx1"/>
                </a:solidFill>
                <a:effectLst/>
                <a:latin typeface="Arial" charset="0"/>
                <a:ea typeface="+mn-ea"/>
                <a:cs typeface="+mn-cs"/>
              </a:rPr>
              <a:t>coordinator</a:t>
            </a:r>
            <a:r>
              <a:rPr lang="en-GB" sz="1200" b="1" i="0" u="none" strike="noStrike" kern="1200" baseline="0" dirty="0">
                <a:solidFill>
                  <a:schemeClr val="tx1"/>
                </a:solidFill>
                <a:effectLst/>
                <a:latin typeface="Arial" charset="0"/>
                <a:ea typeface="+mn-ea"/>
                <a:cs typeface="+mn-cs"/>
              </a:rPr>
              <a:t> / </a:t>
            </a:r>
            <a:r>
              <a:rPr lang="en-GB" sz="1200" b="1" i="0" u="none" strike="noStrike" kern="1200" dirty="0">
                <a:solidFill>
                  <a:schemeClr val="tx1"/>
                </a:solidFill>
                <a:effectLst/>
                <a:latin typeface="Arial" charset="0"/>
                <a:ea typeface="+mn-ea"/>
                <a:cs typeface="+mn-cs"/>
              </a:rPr>
              <a:t>instances</a:t>
            </a:r>
            <a:r>
              <a:rPr lang="en-GB" b="1" dirty="0"/>
              <a:t> </a:t>
            </a:r>
          </a:p>
          <a:p>
            <a:pPr defTabSz="917350">
              <a:defRPr/>
            </a:pPr>
            <a:endParaRPr lang="en-GB" b="1" dirty="0"/>
          </a:p>
          <a:p>
            <a:pPr defTabSz="917350">
              <a:defRPr/>
            </a:pPr>
            <a:r>
              <a:rPr lang="en-GB" sz="1200" b="0" i="0" u="none" strike="noStrike" kern="1200" dirty="0">
                <a:solidFill>
                  <a:schemeClr val="tx1"/>
                </a:solidFill>
                <a:effectLst/>
                <a:latin typeface="Arial" charset="0"/>
                <a:ea typeface="+mn-ea"/>
                <a:cs typeface="+mn-cs"/>
              </a:rPr>
              <a:t>Serbia</a:t>
            </a:r>
            <a:r>
              <a:rPr lang="en-GB" dirty="0"/>
              <a:t> </a:t>
            </a:r>
            <a:r>
              <a:rPr lang="en-GB" sz="1200" b="0" i="0" u="none" strike="noStrike" kern="1200" dirty="0">
                <a:solidFill>
                  <a:schemeClr val="tx1"/>
                </a:solidFill>
                <a:effectLst/>
                <a:latin typeface="Arial" charset="0"/>
                <a:ea typeface="+mn-ea"/>
                <a:cs typeface="+mn-cs"/>
              </a:rPr>
              <a:t>178</a:t>
            </a:r>
            <a:r>
              <a:rPr lang="en-GB" dirty="0"/>
              <a:t> </a:t>
            </a:r>
            <a:r>
              <a:rPr lang="en-GB" sz="1200" b="0" i="0" u="none" strike="noStrike" kern="1200" dirty="0">
                <a:solidFill>
                  <a:schemeClr val="tx1"/>
                </a:solidFill>
                <a:effectLst/>
                <a:latin typeface="Arial" charset="0"/>
                <a:ea typeface="+mn-ea"/>
                <a:cs typeface="+mn-cs"/>
              </a:rPr>
              <a:t>25</a:t>
            </a:r>
            <a:r>
              <a:rPr lang="en-GB" dirty="0"/>
              <a:t> </a:t>
            </a:r>
            <a:r>
              <a:rPr lang="en-GB" sz="1200" b="0" i="0" u="none" strike="noStrike" kern="1200" dirty="0">
                <a:solidFill>
                  <a:schemeClr val="tx1"/>
                </a:solidFill>
                <a:effectLst/>
                <a:latin typeface="Arial" charset="0"/>
                <a:ea typeface="+mn-ea"/>
                <a:cs typeface="+mn-cs"/>
              </a:rPr>
              <a:t>203</a:t>
            </a:r>
            <a:r>
              <a:rPr lang="en-GB" dirty="0"/>
              <a:t> </a:t>
            </a:r>
          </a:p>
          <a:p>
            <a:pPr defTabSz="917350">
              <a:defRPr/>
            </a:pPr>
            <a:r>
              <a:rPr lang="en-GB" sz="1200" b="0" i="0" u="none" strike="noStrike" kern="1200" dirty="0">
                <a:solidFill>
                  <a:schemeClr val="tx1"/>
                </a:solidFill>
                <a:effectLst/>
                <a:latin typeface="Arial" charset="0"/>
                <a:ea typeface="+mn-ea"/>
                <a:cs typeface="+mn-cs"/>
              </a:rPr>
              <a:t>Montenegro</a:t>
            </a:r>
            <a:r>
              <a:rPr lang="en-GB" dirty="0"/>
              <a:t> </a:t>
            </a:r>
            <a:r>
              <a:rPr lang="en-GB" sz="1200" b="0" i="0" u="none" strike="noStrike" kern="1200" dirty="0">
                <a:solidFill>
                  <a:schemeClr val="tx1"/>
                </a:solidFill>
                <a:effectLst/>
                <a:latin typeface="Arial" charset="0"/>
                <a:ea typeface="+mn-ea"/>
                <a:cs typeface="+mn-cs"/>
              </a:rPr>
              <a:t>39</a:t>
            </a:r>
            <a:r>
              <a:rPr lang="en-GB" dirty="0"/>
              <a:t> </a:t>
            </a:r>
            <a:r>
              <a:rPr lang="en-GB" sz="1200" b="0" i="0" u="none" strike="noStrike" kern="1200" dirty="0">
                <a:solidFill>
                  <a:schemeClr val="tx1"/>
                </a:solidFill>
                <a:effectLst/>
                <a:latin typeface="Arial" charset="0"/>
                <a:ea typeface="+mn-ea"/>
                <a:cs typeface="+mn-cs"/>
              </a:rPr>
              <a:t>3</a:t>
            </a:r>
            <a:r>
              <a:rPr lang="en-GB" dirty="0"/>
              <a:t> </a:t>
            </a:r>
            <a:r>
              <a:rPr lang="en-GB" sz="1200" b="0" i="0" u="none" strike="noStrike" kern="1200" dirty="0">
                <a:solidFill>
                  <a:schemeClr val="tx1"/>
                </a:solidFill>
                <a:effectLst/>
                <a:latin typeface="Arial" charset="0"/>
                <a:ea typeface="+mn-ea"/>
                <a:cs typeface="+mn-cs"/>
              </a:rPr>
              <a:t>42</a:t>
            </a:r>
            <a:r>
              <a:rPr lang="en-GB" dirty="0"/>
              <a:t> </a:t>
            </a:r>
          </a:p>
          <a:p>
            <a:pPr defTabSz="917350">
              <a:defRPr/>
            </a:pPr>
            <a:r>
              <a:rPr lang="en-GB" sz="1200" b="0" i="0" u="none" strike="noStrike" kern="1200" dirty="0">
                <a:solidFill>
                  <a:schemeClr val="tx1"/>
                </a:solidFill>
                <a:effectLst/>
                <a:latin typeface="Arial" charset="0"/>
                <a:ea typeface="+mn-ea"/>
                <a:cs typeface="+mn-cs"/>
              </a:rPr>
              <a:t>Kosovo*</a:t>
            </a:r>
            <a:r>
              <a:rPr lang="en-GB" dirty="0"/>
              <a:t> </a:t>
            </a:r>
            <a:r>
              <a:rPr lang="en-GB" sz="1200" b="0" i="0" u="none" strike="noStrike" kern="1200" dirty="0">
                <a:solidFill>
                  <a:schemeClr val="tx1"/>
                </a:solidFill>
                <a:effectLst/>
                <a:latin typeface="Arial" charset="0"/>
                <a:ea typeface="+mn-ea"/>
                <a:cs typeface="+mn-cs"/>
              </a:rPr>
              <a:t>59</a:t>
            </a:r>
            <a:r>
              <a:rPr lang="en-GB" dirty="0"/>
              <a:t> </a:t>
            </a:r>
            <a:r>
              <a:rPr lang="en-GB" sz="1200" b="0" i="0" u="none" strike="noStrike" kern="1200" dirty="0">
                <a:solidFill>
                  <a:schemeClr val="tx1"/>
                </a:solidFill>
                <a:effectLst/>
                <a:latin typeface="Arial" charset="0"/>
                <a:ea typeface="+mn-ea"/>
                <a:cs typeface="+mn-cs"/>
              </a:rPr>
              <a:t>5</a:t>
            </a:r>
            <a:r>
              <a:rPr lang="en-GB" dirty="0"/>
              <a:t> </a:t>
            </a:r>
            <a:r>
              <a:rPr lang="en-GB" sz="1200" b="0" i="0" u="none" strike="noStrike" kern="1200" dirty="0">
                <a:solidFill>
                  <a:schemeClr val="tx1"/>
                </a:solidFill>
                <a:effectLst/>
                <a:latin typeface="Arial" charset="0"/>
                <a:ea typeface="+mn-ea"/>
                <a:cs typeface="+mn-cs"/>
              </a:rPr>
              <a:t>64</a:t>
            </a:r>
            <a:r>
              <a:rPr lang="en-GB" dirty="0"/>
              <a:t> </a:t>
            </a:r>
          </a:p>
          <a:p>
            <a:pPr defTabSz="917350">
              <a:defRPr/>
            </a:pPr>
            <a:r>
              <a:rPr lang="en-GB" sz="1200" b="0" i="0" u="none" strike="noStrike" kern="1200" dirty="0">
                <a:solidFill>
                  <a:schemeClr val="tx1"/>
                </a:solidFill>
                <a:effectLst/>
                <a:latin typeface="Arial" charset="0"/>
                <a:ea typeface="+mn-ea"/>
                <a:cs typeface="+mn-cs"/>
              </a:rPr>
              <a:t>Bosnia and Herzegovina</a:t>
            </a:r>
            <a:r>
              <a:rPr lang="en-GB" dirty="0"/>
              <a:t> </a:t>
            </a:r>
            <a:r>
              <a:rPr lang="en-GB" sz="1200" b="0" i="0" u="none" strike="noStrike" kern="1200" dirty="0">
                <a:solidFill>
                  <a:schemeClr val="tx1"/>
                </a:solidFill>
                <a:effectLst/>
                <a:latin typeface="Arial" charset="0"/>
                <a:ea typeface="+mn-ea"/>
                <a:cs typeface="+mn-cs"/>
              </a:rPr>
              <a:t>114</a:t>
            </a:r>
            <a:r>
              <a:rPr lang="en-GB" dirty="0"/>
              <a:t> </a:t>
            </a:r>
            <a:r>
              <a:rPr lang="en-GB" sz="1200" b="0" i="0" u="none" strike="noStrike" kern="1200" dirty="0">
                <a:solidFill>
                  <a:schemeClr val="tx1"/>
                </a:solidFill>
                <a:effectLst/>
                <a:latin typeface="Arial" charset="0"/>
                <a:ea typeface="+mn-ea"/>
                <a:cs typeface="+mn-cs"/>
              </a:rPr>
              <a:t>3</a:t>
            </a:r>
            <a:r>
              <a:rPr lang="en-GB" dirty="0"/>
              <a:t> </a:t>
            </a:r>
            <a:r>
              <a:rPr lang="en-GB" sz="1200" b="0" i="0" u="none" strike="noStrike" kern="1200" dirty="0">
                <a:solidFill>
                  <a:schemeClr val="tx1"/>
                </a:solidFill>
                <a:effectLst/>
                <a:latin typeface="Arial" charset="0"/>
                <a:ea typeface="+mn-ea"/>
                <a:cs typeface="+mn-cs"/>
              </a:rPr>
              <a:t>117</a:t>
            </a:r>
            <a:r>
              <a:rPr lang="en-GB" dirty="0"/>
              <a:t> </a:t>
            </a:r>
          </a:p>
          <a:p>
            <a:pPr defTabSz="917350">
              <a:defRPr/>
            </a:pPr>
            <a:r>
              <a:rPr lang="en-GB" sz="1200" b="0" i="0" u="none" strike="noStrike" kern="1200" dirty="0">
                <a:solidFill>
                  <a:schemeClr val="tx1"/>
                </a:solidFill>
                <a:effectLst/>
                <a:latin typeface="Arial" charset="0"/>
                <a:ea typeface="+mn-ea"/>
                <a:cs typeface="+mn-cs"/>
              </a:rPr>
              <a:t>Albania</a:t>
            </a:r>
            <a:r>
              <a:rPr lang="en-GB" dirty="0"/>
              <a:t> </a:t>
            </a:r>
            <a:r>
              <a:rPr lang="en-GB" sz="1200" b="0" i="0" u="none" strike="noStrike" kern="1200" dirty="0">
                <a:solidFill>
                  <a:schemeClr val="tx1"/>
                </a:solidFill>
                <a:effectLst/>
                <a:latin typeface="Arial" charset="0"/>
                <a:ea typeface="+mn-ea"/>
                <a:cs typeface="+mn-cs"/>
              </a:rPr>
              <a:t>74</a:t>
            </a:r>
            <a:r>
              <a:rPr lang="en-GB" dirty="0"/>
              <a:t> </a:t>
            </a:r>
            <a:r>
              <a:rPr lang="en-GB" sz="1200" b="0" i="0" u="none" strike="noStrike" kern="1200" dirty="0">
                <a:solidFill>
                  <a:schemeClr val="tx1"/>
                </a:solidFill>
                <a:effectLst/>
                <a:latin typeface="Arial" charset="0"/>
                <a:ea typeface="+mn-ea"/>
                <a:cs typeface="+mn-cs"/>
              </a:rPr>
              <a:t>4</a:t>
            </a:r>
            <a:r>
              <a:rPr lang="en-GB" dirty="0"/>
              <a:t> </a:t>
            </a:r>
            <a:r>
              <a:rPr lang="en-GB" sz="1200" b="0" i="0" u="none" strike="noStrike" kern="1200" dirty="0">
                <a:solidFill>
                  <a:schemeClr val="tx1"/>
                </a:solidFill>
                <a:effectLst/>
                <a:latin typeface="Arial" charset="0"/>
                <a:ea typeface="+mn-ea"/>
                <a:cs typeface="+mn-cs"/>
              </a:rPr>
              <a:t>78</a:t>
            </a:r>
            <a:r>
              <a:rPr lang="en-GB" dirty="0"/>
              <a:t> </a:t>
            </a:r>
            <a:endParaRPr lang="en-GB" baseline="0" dirty="0"/>
          </a:p>
        </p:txBody>
      </p:sp>
      <p:sp>
        <p:nvSpPr>
          <p:cNvPr id="4" name="Slide Number Placeholder 3"/>
          <p:cNvSpPr>
            <a:spLocks noGrp="1"/>
          </p:cNvSpPr>
          <p:nvPr>
            <p:ph type="sldNum" sz="quarter" idx="10"/>
          </p:nvPr>
        </p:nvSpPr>
        <p:spPr/>
        <p:txBody>
          <a:bodyPr/>
          <a:lstStyle/>
          <a:p>
            <a:fld id="{0092B2D2-748F-4979-AEA9-D42BA039DA45}" type="slidenum">
              <a:rPr lang="en-GB" altLang="en-US" smtClean="0"/>
              <a:pPr/>
              <a:t>4</a:t>
            </a:fld>
            <a:endParaRPr lang="en-GB" altLang="en-US" dirty="0"/>
          </a:p>
        </p:txBody>
      </p:sp>
    </p:spTree>
    <p:extLst>
      <p:ext uri="{BB962C8B-B14F-4D97-AF65-F5344CB8AC3E}">
        <p14:creationId xmlns:p14="http://schemas.microsoft.com/office/powerpoint/2010/main" val="2045371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7350">
              <a:defRPr/>
            </a:pPr>
            <a:endParaRPr lang="en-GB" baseline="0" dirty="0"/>
          </a:p>
        </p:txBody>
      </p:sp>
      <p:sp>
        <p:nvSpPr>
          <p:cNvPr id="4" name="Slide Number Placeholder 3"/>
          <p:cNvSpPr>
            <a:spLocks noGrp="1"/>
          </p:cNvSpPr>
          <p:nvPr>
            <p:ph type="sldNum" sz="quarter" idx="10"/>
          </p:nvPr>
        </p:nvSpPr>
        <p:spPr/>
        <p:txBody>
          <a:bodyPr/>
          <a:lstStyle/>
          <a:p>
            <a:fld id="{0092B2D2-748F-4979-AEA9-D42BA039DA45}" type="slidenum">
              <a:rPr lang="en-GB" altLang="en-US" smtClean="0"/>
              <a:pPr/>
              <a:t>5</a:t>
            </a:fld>
            <a:endParaRPr lang="en-GB" altLang="en-US" dirty="0"/>
          </a:p>
        </p:txBody>
      </p:sp>
    </p:spTree>
    <p:extLst>
      <p:ext uri="{BB962C8B-B14F-4D97-AF65-F5344CB8AC3E}">
        <p14:creationId xmlns:p14="http://schemas.microsoft.com/office/powerpoint/2010/main" val="2045371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b="0" i="0" u="none" strike="noStrike" kern="1200" baseline="0" dirty="0">
                <a:solidFill>
                  <a:schemeClr val="tx1"/>
                </a:solidFill>
                <a:latin typeface="Arial" charset="0"/>
                <a:ea typeface="+mn-ea"/>
                <a:cs typeface="+mn-cs"/>
              </a:rPr>
              <a:t>The role of </a:t>
            </a:r>
            <a:r>
              <a:rPr lang="en-GB" sz="1200" b="1" i="0" u="none" strike="noStrike" kern="1200" baseline="0" dirty="0">
                <a:solidFill>
                  <a:schemeClr val="tx1"/>
                </a:solidFill>
                <a:latin typeface="Arial" charset="0"/>
                <a:ea typeface="+mn-ea"/>
                <a:cs typeface="+mn-cs"/>
              </a:rPr>
              <a:t>education </a:t>
            </a:r>
            <a:r>
              <a:rPr lang="en-GB" sz="1200" b="0" i="0" u="none" strike="noStrike" kern="1200" baseline="0" dirty="0">
                <a:solidFill>
                  <a:schemeClr val="tx1"/>
                </a:solidFill>
                <a:latin typeface="Arial" charset="0"/>
                <a:ea typeface="+mn-ea"/>
                <a:cs typeface="+mn-cs"/>
              </a:rPr>
              <a:t>must be given a higher priority especially in terms of fostering greater tolerance, promoting European values and strengthening the cohesion of society. The Western Balkans should invest more in their younger generation, our future EU citizens, and give them a perspective for the future, not the past. Cooperation in the field of </a:t>
            </a:r>
            <a:r>
              <a:rPr lang="en-GB" sz="1200" b="1" i="0" u="none" strike="noStrike" kern="1200" baseline="0" dirty="0">
                <a:solidFill>
                  <a:schemeClr val="tx1"/>
                </a:solidFill>
                <a:latin typeface="Arial" charset="0"/>
                <a:ea typeface="+mn-ea"/>
                <a:cs typeface="+mn-cs"/>
              </a:rPr>
              <a:t>culture </a:t>
            </a:r>
            <a:r>
              <a:rPr lang="en-GB" sz="1200" b="0" i="0" u="none" strike="noStrike" kern="1200" baseline="0" dirty="0">
                <a:solidFill>
                  <a:schemeClr val="tx1"/>
                </a:solidFill>
                <a:latin typeface="Arial" charset="0"/>
                <a:ea typeface="+mn-ea"/>
                <a:cs typeface="+mn-cs"/>
              </a:rPr>
              <a:t>with and within the region should also be enhanced. </a:t>
            </a:r>
            <a:endParaRPr lang="en-GB" dirty="0"/>
          </a:p>
        </p:txBody>
      </p:sp>
      <p:sp>
        <p:nvSpPr>
          <p:cNvPr id="4" name="Slide Number Placeholder 3"/>
          <p:cNvSpPr>
            <a:spLocks noGrp="1"/>
          </p:cNvSpPr>
          <p:nvPr>
            <p:ph type="sldNum" sz="quarter" idx="10"/>
          </p:nvPr>
        </p:nvSpPr>
        <p:spPr>
          <a:xfrm>
            <a:off x="3885275" y="9429014"/>
            <a:ext cx="2971092" cy="496009"/>
          </a:xfrm>
          <a:prstGeom prst="rect">
            <a:avLst/>
          </a:prstGeom>
        </p:spPr>
        <p:txBody>
          <a:bodyPr/>
          <a:lstStyle/>
          <a:p>
            <a:fld id="{596E89B8-4711-4C71-8F64-5EFA570B9D6A}" type="slidenum">
              <a:rPr lang="en-GB" altLang="en-US" smtClean="0"/>
              <a:pPr/>
              <a:t>6</a:t>
            </a:fld>
            <a:endParaRPr lang="en-GB" altLang="en-US"/>
          </a:p>
        </p:txBody>
      </p:sp>
    </p:spTree>
    <p:extLst>
      <p:ext uri="{BB962C8B-B14F-4D97-AF65-F5344CB8AC3E}">
        <p14:creationId xmlns:p14="http://schemas.microsoft.com/office/powerpoint/2010/main" val="22205543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3883853" y="9428164"/>
            <a:ext cx="2972547" cy="496887"/>
          </a:xfrm>
          <a:prstGeom prst="rect">
            <a:avLst/>
          </a:prstGeom>
        </p:spPr>
        <p:txBody>
          <a:bodyPr/>
          <a:lstStyle/>
          <a:p>
            <a:fld id="{D639D7F2-BF02-4218-AF89-E06ED9902710}" type="slidenum">
              <a:rPr lang="en-GB" smtClean="0"/>
              <a:pPr/>
              <a:t>7</a:t>
            </a:fld>
            <a:endParaRPr lang="en-GB"/>
          </a:p>
        </p:txBody>
      </p:sp>
    </p:spTree>
    <p:extLst>
      <p:ext uri="{BB962C8B-B14F-4D97-AF65-F5344CB8AC3E}">
        <p14:creationId xmlns:p14="http://schemas.microsoft.com/office/powerpoint/2010/main" val="38594783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pPr marL="0" lvl="2"/>
            <a:endParaRPr lang="en-GB" dirty="0">
              <a:latin typeface="+mj-lt"/>
              <a:ea typeface="+mj-ea"/>
              <a:cs typeface="+mj-cs"/>
              <a:sym typeface="Arial"/>
            </a:endParaRPr>
          </a:p>
          <a:p>
            <a:pPr marL="0" lvl="2"/>
            <a:endParaRPr lang="en-GB" dirty="0">
              <a:latin typeface="+mj-lt"/>
              <a:ea typeface="+mj-ea"/>
              <a:cs typeface="+mj-cs"/>
              <a:sym typeface="Arial"/>
            </a:endParaRPr>
          </a:p>
          <a:p>
            <a:endParaRPr lang="ca-ES" dirty="0"/>
          </a:p>
        </p:txBody>
      </p:sp>
    </p:spTree>
    <p:extLst>
      <p:ext uri="{BB962C8B-B14F-4D97-AF65-F5344CB8AC3E}">
        <p14:creationId xmlns:p14="http://schemas.microsoft.com/office/powerpoint/2010/main" val="9602521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lstStyle/>
          <a:p>
            <a:endParaRPr lang="ca-ES" dirty="0"/>
          </a:p>
        </p:txBody>
      </p:sp>
    </p:spTree>
    <p:extLst>
      <p:ext uri="{BB962C8B-B14F-4D97-AF65-F5344CB8AC3E}">
        <p14:creationId xmlns:p14="http://schemas.microsoft.com/office/powerpoint/2010/main" val="117566194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 /><Relationship Id="rId1" Type="http://schemas.openxmlformats.org/officeDocument/2006/relationships/slideMaster" Target="../slideMasters/slideMaster1.xml" /></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3"/>
          <p:cNvSpPr>
            <a:spLocks noChangeArrowheads="1"/>
          </p:cNvSpPr>
          <p:nvPr/>
        </p:nvSpPr>
        <p:spPr bwMode="auto">
          <a:xfrm>
            <a:off x="0" y="981075"/>
            <a:ext cx="9180513" cy="5876925"/>
          </a:xfrm>
          <a:prstGeom prst="rect">
            <a:avLst/>
          </a:prstGeom>
          <a:solidFill>
            <a:srgbClr val="0F5494"/>
          </a:solidFill>
          <a:ln w="25400" algn="ctr">
            <a:solidFill>
              <a:srgbClr val="0F5494"/>
            </a:solidFill>
            <a:miter lim="800000"/>
            <a:headEnd/>
            <a:tailEnd/>
          </a:ln>
          <a:effectLst>
            <a:outerShdw dist="23000" dir="5400000" rotWithShape="0">
              <a:srgbClr val="000000">
                <a:alpha val="34999"/>
              </a:srgbClr>
            </a:outerShdw>
          </a:effectLst>
        </p:spPr>
        <p:txBody>
          <a:bodyPr anchor="ctr"/>
          <a:lstStyle/>
          <a:p>
            <a:pPr algn="ctr" defTabSz="457200" fontAlgn="auto">
              <a:spcBef>
                <a:spcPts val="0"/>
              </a:spcBef>
              <a:spcAft>
                <a:spcPts val="0"/>
              </a:spcAft>
              <a:defRPr/>
            </a:pPr>
            <a:endParaRPr lang="en-US" sz="1800" dirty="0">
              <a:solidFill>
                <a:schemeClr val="lt1"/>
              </a:solidFill>
              <a:latin typeface="+mn-lt"/>
            </a:endParaRPr>
          </a:p>
        </p:txBody>
      </p:sp>
      <p:pic>
        <p:nvPicPr>
          <p:cNvPr id="3086" name="Picture 6" descr="LOGO CE-EN-quadri.eps"/>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957638" y="258763"/>
            <a:ext cx="1436687" cy="998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76" name="Rectangle 4"/>
          <p:cNvSpPr>
            <a:spLocks noGrp="1" noChangeArrowheads="1"/>
          </p:cNvSpPr>
          <p:nvPr>
            <p:ph type="ctrTitle"/>
          </p:nvPr>
        </p:nvSpPr>
        <p:spPr>
          <a:xfrm>
            <a:off x="3995738" y="2565400"/>
            <a:ext cx="5040312" cy="790575"/>
          </a:xfrm>
        </p:spPr>
        <p:txBody>
          <a:bodyPr/>
          <a:lstStyle>
            <a:lvl1pPr marL="3175">
              <a:defRPr sz="7600">
                <a:solidFill>
                  <a:srgbClr val="FFD624"/>
                </a:solidFill>
              </a:defRPr>
            </a:lvl1pPr>
          </a:lstStyle>
          <a:p>
            <a:pPr lvl="0"/>
            <a:r>
              <a:rPr lang="en-US" altLang="en-US" noProof="0"/>
              <a:t>Click to edit Master title style</a:t>
            </a:r>
            <a:endParaRPr lang="en-GB" altLang="en-US" noProof="0"/>
          </a:p>
        </p:txBody>
      </p:sp>
      <p:sp>
        <p:nvSpPr>
          <p:cNvPr id="3077" name="Rectangle 5"/>
          <p:cNvSpPr>
            <a:spLocks noGrp="1" noChangeArrowheads="1"/>
          </p:cNvSpPr>
          <p:nvPr>
            <p:ph type="subTitle" idx="1"/>
          </p:nvPr>
        </p:nvSpPr>
        <p:spPr>
          <a:xfrm>
            <a:off x="611188" y="3716338"/>
            <a:ext cx="8532812" cy="1728787"/>
          </a:xfrm>
        </p:spPr>
        <p:txBody>
          <a:bodyPr/>
          <a:lstStyle>
            <a:lvl1pPr marL="0" indent="0">
              <a:buFontTx/>
              <a:buNone/>
              <a:defRPr sz="3000" b="1" i="0">
                <a:solidFill>
                  <a:schemeClr val="bg1"/>
                </a:solidFill>
              </a:defRPr>
            </a:lvl1pPr>
          </a:lstStyle>
          <a:p>
            <a:pPr lvl="0"/>
            <a:r>
              <a:rPr lang="en-US" altLang="en-US" noProof="0"/>
              <a:t>Click to edit Master subtitle style</a:t>
            </a:r>
            <a:endParaRPr lang="en-GB" altLang="en-US" noProof="0"/>
          </a:p>
        </p:txBody>
      </p:sp>
      <p:sp>
        <p:nvSpPr>
          <p:cNvPr id="3078" name="Rectangle 6"/>
          <p:cNvSpPr>
            <a:spLocks noGrp="1" noChangeArrowheads="1"/>
          </p:cNvSpPr>
          <p:nvPr>
            <p:ph type="dt" sz="half" idx="2"/>
          </p:nvPr>
        </p:nvSpPr>
        <p:spPr/>
        <p:txBody>
          <a:bodyPr/>
          <a:lstStyle>
            <a:lvl1pPr>
              <a:defRPr sz="1200" b="1">
                <a:solidFill>
                  <a:schemeClr val="bg1"/>
                </a:solidFill>
                <a:latin typeface="+mn-lt"/>
              </a:defRPr>
            </a:lvl1pPr>
          </a:lstStyle>
          <a:p>
            <a:endParaRPr lang="en-GB" altLang="en-US" dirty="0"/>
          </a:p>
        </p:txBody>
      </p:sp>
      <p:sp>
        <p:nvSpPr>
          <p:cNvPr id="3079" name="Rectangle 7"/>
          <p:cNvSpPr>
            <a:spLocks noGrp="1" noChangeArrowheads="1"/>
          </p:cNvSpPr>
          <p:nvPr>
            <p:ph type="ftr" sz="quarter" idx="3"/>
          </p:nvPr>
        </p:nvSpPr>
        <p:spPr/>
        <p:txBody>
          <a:bodyPr/>
          <a:lstStyle>
            <a:lvl1pPr>
              <a:defRPr>
                <a:solidFill>
                  <a:schemeClr val="bg1"/>
                </a:solidFill>
                <a:latin typeface="+mn-lt"/>
              </a:defRPr>
            </a:lvl1pPr>
          </a:lstStyle>
          <a:p>
            <a:endParaRPr lang="en-GB" altLang="en-US" dirty="0"/>
          </a:p>
        </p:txBody>
      </p:sp>
      <p:sp>
        <p:nvSpPr>
          <p:cNvPr id="3080" name="Rectangle 8"/>
          <p:cNvSpPr>
            <a:spLocks noGrp="1" noChangeArrowheads="1"/>
          </p:cNvSpPr>
          <p:nvPr>
            <p:ph type="sldNum" sz="quarter" idx="4"/>
          </p:nvPr>
        </p:nvSpPr>
        <p:spPr/>
        <p:txBody>
          <a:bodyPr/>
          <a:lstStyle>
            <a:lvl1pPr>
              <a:defRPr>
                <a:solidFill>
                  <a:schemeClr val="bg1"/>
                </a:solidFill>
                <a:latin typeface="+mn-lt"/>
              </a:defRPr>
            </a:lvl1pPr>
          </a:lstStyle>
          <a:p>
            <a:fld id="{2565C82C-53BE-41B9-8B81-C6CD7A0228B0}" type="slidenum">
              <a:rPr lang="en-GB" altLang="en-US"/>
              <a:pPr/>
              <a:t>‹#›</a:t>
            </a:fld>
            <a:endParaRPr lang="en-GB" altLang="en-US" dirty="0"/>
          </a:p>
        </p:txBody>
      </p:sp>
      <p:sp>
        <p:nvSpPr>
          <p:cNvPr id="7" name="Rectangle 6"/>
          <p:cNvSpPr/>
          <p:nvPr userDrawn="1"/>
        </p:nvSpPr>
        <p:spPr>
          <a:xfrm>
            <a:off x="4267200" y="6659563"/>
            <a:ext cx="611188" cy="215900"/>
          </a:xfrm>
          <a:prstGeom prst="rect">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sz="180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endParaRPr lang="en-GB" altLang="en-US" dirty="0"/>
          </a:p>
        </p:txBody>
      </p:sp>
      <p:sp>
        <p:nvSpPr>
          <p:cNvPr id="5" name="Footer Placeholder 4"/>
          <p:cNvSpPr>
            <a:spLocks noGrp="1"/>
          </p:cNvSpPr>
          <p:nvPr>
            <p:ph type="ftr" sz="quarter" idx="11"/>
          </p:nvPr>
        </p:nvSpPr>
        <p:spPr/>
        <p:txBody>
          <a:bodyPr/>
          <a:lstStyle>
            <a:lvl1pPr>
              <a:defRPr/>
            </a:lvl1pPr>
          </a:lstStyle>
          <a:p>
            <a:endParaRPr lang="en-GB" altLang="en-US" dirty="0"/>
          </a:p>
        </p:txBody>
      </p:sp>
      <p:sp>
        <p:nvSpPr>
          <p:cNvPr id="6" name="Slide Number Placeholder 5"/>
          <p:cNvSpPr>
            <a:spLocks noGrp="1"/>
          </p:cNvSpPr>
          <p:nvPr>
            <p:ph type="sldNum" sz="quarter" idx="12"/>
          </p:nvPr>
        </p:nvSpPr>
        <p:spPr/>
        <p:txBody>
          <a:bodyPr/>
          <a:lstStyle>
            <a:lvl1pPr>
              <a:defRPr/>
            </a:lvl1pPr>
          </a:lstStyle>
          <a:p>
            <a:fld id="{C187D585-1ACD-4075-A475-D559F749F878}" type="slidenum">
              <a:rPr lang="en-GB" altLang="en-US"/>
              <a:pPr/>
              <a:t>‹#›</a:t>
            </a:fld>
            <a:endParaRPr lang="en-GB" altLang="en-US" dirty="0"/>
          </a:p>
        </p:txBody>
      </p:sp>
    </p:spTree>
    <p:extLst>
      <p:ext uri="{BB962C8B-B14F-4D97-AF65-F5344CB8AC3E}">
        <p14:creationId xmlns:p14="http://schemas.microsoft.com/office/powerpoint/2010/main" val="808662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15113" y="1339850"/>
            <a:ext cx="2071687" cy="46815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395288" y="1339850"/>
            <a:ext cx="6067425" cy="46815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endParaRPr lang="en-GB" altLang="en-US" dirty="0"/>
          </a:p>
        </p:txBody>
      </p:sp>
      <p:sp>
        <p:nvSpPr>
          <p:cNvPr id="5" name="Footer Placeholder 4"/>
          <p:cNvSpPr>
            <a:spLocks noGrp="1"/>
          </p:cNvSpPr>
          <p:nvPr>
            <p:ph type="ftr" sz="quarter" idx="11"/>
          </p:nvPr>
        </p:nvSpPr>
        <p:spPr/>
        <p:txBody>
          <a:bodyPr/>
          <a:lstStyle>
            <a:lvl1pPr>
              <a:defRPr/>
            </a:lvl1pPr>
          </a:lstStyle>
          <a:p>
            <a:endParaRPr lang="en-GB" altLang="en-US" dirty="0"/>
          </a:p>
        </p:txBody>
      </p:sp>
      <p:sp>
        <p:nvSpPr>
          <p:cNvPr id="6" name="Slide Number Placeholder 5"/>
          <p:cNvSpPr>
            <a:spLocks noGrp="1"/>
          </p:cNvSpPr>
          <p:nvPr>
            <p:ph type="sldNum" sz="quarter" idx="12"/>
          </p:nvPr>
        </p:nvSpPr>
        <p:spPr/>
        <p:txBody>
          <a:bodyPr/>
          <a:lstStyle>
            <a:lvl1pPr>
              <a:defRPr/>
            </a:lvl1pPr>
          </a:lstStyle>
          <a:p>
            <a:fld id="{C632B485-F83A-481C-8986-8EDABEB83466}" type="slidenum">
              <a:rPr lang="en-GB" altLang="en-US"/>
              <a:pPr/>
              <a:t>‹#›</a:t>
            </a:fld>
            <a:endParaRPr lang="en-GB" altLang="en-US" dirty="0"/>
          </a:p>
        </p:txBody>
      </p:sp>
    </p:spTree>
    <p:extLst>
      <p:ext uri="{BB962C8B-B14F-4D97-AF65-F5344CB8AC3E}">
        <p14:creationId xmlns:p14="http://schemas.microsoft.com/office/powerpoint/2010/main" val="134986254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lvl1pPr>
              <a:defRPr/>
            </a:lvl1pPr>
          </a:lstStyle>
          <a:p>
            <a:endParaRPr lang="en-GB" altLang="en-US" dirty="0"/>
          </a:p>
        </p:txBody>
      </p:sp>
      <p:sp>
        <p:nvSpPr>
          <p:cNvPr id="5" name="Footer Placeholder 4"/>
          <p:cNvSpPr>
            <a:spLocks noGrp="1"/>
          </p:cNvSpPr>
          <p:nvPr>
            <p:ph type="ftr" sz="quarter" idx="11"/>
          </p:nvPr>
        </p:nvSpPr>
        <p:spPr/>
        <p:txBody>
          <a:bodyPr/>
          <a:lstStyle>
            <a:lvl1pPr>
              <a:defRPr/>
            </a:lvl1pPr>
          </a:lstStyle>
          <a:p>
            <a:endParaRPr lang="en-GB" altLang="en-US" dirty="0"/>
          </a:p>
        </p:txBody>
      </p:sp>
      <p:sp>
        <p:nvSpPr>
          <p:cNvPr id="6" name="Slide Number Placeholder 5"/>
          <p:cNvSpPr>
            <a:spLocks noGrp="1"/>
          </p:cNvSpPr>
          <p:nvPr>
            <p:ph type="sldNum" sz="quarter" idx="12"/>
          </p:nvPr>
        </p:nvSpPr>
        <p:spPr/>
        <p:txBody>
          <a:bodyPr/>
          <a:lstStyle>
            <a:lvl1pPr>
              <a:defRPr/>
            </a:lvl1pPr>
          </a:lstStyle>
          <a:p>
            <a:fld id="{14F0E55B-1EBF-4C63-9883-404455EB20A7}" type="slidenum">
              <a:rPr lang="en-GB" altLang="en-US"/>
              <a:pPr/>
              <a:t>‹#›</a:t>
            </a:fld>
            <a:endParaRPr lang="en-GB" altLang="en-US" dirty="0"/>
          </a:p>
        </p:txBody>
      </p:sp>
    </p:spTree>
    <p:extLst>
      <p:ext uri="{BB962C8B-B14F-4D97-AF65-F5344CB8AC3E}">
        <p14:creationId xmlns:p14="http://schemas.microsoft.com/office/powerpoint/2010/main" val="8409771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endParaRPr lang="en-GB" altLang="en-US" dirty="0"/>
          </a:p>
        </p:txBody>
      </p:sp>
      <p:sp>
        <p:nvSpPr>
          <p:cNvPr id="5" name="Footer Placeholder 4"/>
          <p:cNvSpPr>
            <a:spLocks noGrp="1"/>
          </p:cNvSpPr>
          <p:nvPr>
            <p:ph type="ftr" sz="quarter" idx="11"/>
          </p:nvPr>
        </p:nvSpPr>
        <p:spPr/>
        <p:txBody>
          <a:bodyPr/>
          <a:lstStyle>
            <a:lvl1pPr>
              <a:defRPr/>
            </a:lvl1pPr>
          </a:lstStyle>
          <a:p>
            <a:endParaRPr lang="en-GB" altLang="en-US" dirty="0"/>
          </a:p>
        </p:txBody>
      </p:sp>
      <p:sp>
        <p:nvSpPr>
          <p:cNvPr id="6" name="Slide Number Placeholder 5"/>
          <p:cNvSpPr>
            <a:spLocks noGrp="1"/>
          </p:cNvSpPr>
          <p:nvPr>
            <p:ph type="sldNum" sz="quarter" idx="12"/>
          </p:nvPr>
        </p:nvSpPr>
        <p:spPr/>
        <p:txBody>
          <a:bodyPr/>
          <a:lstStyle>
            <a:lvl1pPr>
              <a:defRPr/>
            </a:lvl1pPr>
          </a:lstStyle>
          <a:p>
            <a:fld id="{31EB4272-3E08-497E-ACC4-2D4FC777FEC0}" type="slidenum">
              <a:rPr lang="en-GB" altLang="en-US"/>
              <a:pPr/>
              <a:t>‹#›</a:t>
            </a:fld>
            <a:endParaRPr lang="en-GB" altLang="en-US" dirty="0"/>
          </a:p>
        </p:txBody>
      </p:sp>
    </p:spTree>
    <p:extLst>
      <p:ext uri="{BB962C8B-B14F-4D97-AF65-F5344CB8AC3E}">
        <p14:creationId xmlns:p14="http://schemas.microsoft.com/office/powerpoint/2010/main" val="33473949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457200" y="2492375"/>
            <a:ext cx="4038600" cy="35290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2492375"/>
            <a:ext cx="4038600" cy="35290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lvl1pPr>
              <a:defRPr/>
            </a:lvl1pPr>
          </a:lstStyle>
          <a:p>
            <a:endParaRPr lang="en-GB" altLang="en-US" dirty="0"/>
          </a:p>
        </p:txBody>
      </p:sp>
      <p:sp>
        <p:nvSpPr>
          <p:cNvPr id="6" name="Footer Placeholder 5"/>
          <p:cNvSpPr>
            <a:spLocks noGrp="1"/>
          </p:cNvSpPr>
          <p:nvPr>
            <p:ph type="ftr" sz="quarter" idx="11"/>
          </p:nvPr>
        </p:nvSpPr>
        <p:spPr/>
        <p:txBody>
          <a:bodyPr/>
          <a:lstStyle>
            <a:lvl1pPr>
              <a:defRPr/>
            </a:lvl1pPr>
          </a:lstStyle>
          <a:p>
            <a:endParaRPr lang="en-GB" altLang="en-US" dirty="0"/>
          </a:p>
        </p:txBody>
      </p:sp>
      <p:sp>
        <p:nvSpPr>
          <p:cNvPr id="7" name="Slide Number Placeholder 6"/>
          <p:cNvSpPr>
            <a:spLocks noGrp="1"/>
          </p:cNvSpPr>
          <p:nvPr>
            <p:ph type="sldNum" sz="quarter" idx="12"/>
          </p:nvPr>
        </p:nvSpPr>
        <p:spPr/>
        <p:txBody>
          <a:bodyPr/>
          <a:lstStyle>
            <a:lvl1pPr>
              <a:defRPr/>
            </a:lvl1pPr>
          </a:lstStyle>
          <a:p>
            <a:fld id="{780E9DCC-1CF8-43C8-A4FB-78C09D57375F}" type="slidenum">
              <a:rPr lang="en-GB" altLang="en-US"/>
              <a:pPr/>
              <a:t>‹#›</a:t>
            </a:fld>
            <a:endParaRPr lang="en-GB" altLang="en-US" dirty="0"/>
          </a:p>
        </p:txBody>
      </p:sp>
    </p:spTree>
    <p:extLst>
      <p:ext uri="{BB962C8B-B14F-4D97-AF65-F5344CB8AC3E}">
        <p14:creationId xmlns:p14="http://schemas.microsoft.com/office/powerpoint/2010/main" val="22000601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lvl1pPr>
              <a:defRPr/>
            </a:lvl1pPr>
          </a:lstStyle>
          <a:p>
            <a:endParaRPr lang="en-GB" altLang="en-US" dirty="0"/>
          </a:p>
        </p:txBody>
      </p:sp>
      <p:sp>
        <p:nvSpPr>
          <p:cNvPr id="8" name="Footer Placeholder 7"/>
          <p:cNvSpPr>
            <a:spLocks noGrp="1"/>
          </p:cNvSpPr>
          <p:nvPr>
            <p:ph type="ftr" sz="quarter" idx="11"/>
          </p:nvPr>
        </p:nvSpPr>
        <p:spPr/>
        <p:txBody>
          <a:bodyPr/>
          <a:lstStyle>
            <a:lvl1pPr>
              <a:defRPr/>
            </a:lvl1pPr>
          </a:lstStyle>
          <a:p>
            <a:endParaRPr lang="en-GB" altLang="en-US" dirty="0"/>
          </a:p>
        </p:txBody>
      </p:sp>
      <p:sp>
        <p:nvSpPr>
          <p:cNvPr id="9" name="Slide Number Placeholder 8"/>
          <p:cNvSpPr>
            <a:spLocks noGrp="1"/>
          </p:cNvSpPr>
          <p:nvPr>
            <p:ph type="sldNum" sz="quarter" idx="12"/>
          </p:nvPr>
        </p:nvSpPr>
        <p:spPr/>
        <p:txBody>
          <a:bodyPr/>
          <a:lstStyle>
            <a:lvl1pPr>
              <a:defRPr/>
            </a:lvl1pPr>
          </a:lstStyle>
          <a:p>
            <a:fld id="{05A1D9AD-9AB8-4C30-9B95-77FADA03B11C}" type="slidenum">
              <a:rPr lang="en-GB" altLang="en-US"/>
              <a:pPr/>
              <a:t>‹#›</a:t>
            </a:fld>
            <a:endParaRPr lang="en-GB" altLang="en-US" dirty="0"/>
          </a:p>
        </p:txBody>
      </p:sp>
    </p:spTree>
    <p:extLst>
      <p:ext uri="{BB962C8B-B14F-4D97-AF65-F5344CB8AC3E}">
        <p14:creationId xmlns:p14="http://schemas.microsoft.com/office/powerpoint/2010/main" val="21175035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lvl1pPr>
              <a:defRPr/>
            </a:lvl1pPr>
          </a:lstStyle>
          <a:p>
            <a:endParaRPr lang="en-GB" altLang="en-US" dirty="0"/>
          </a:p>
        </p:txBody>
      </p:sp>
      <p:sp>
        <p:nvSpPr>
          <p:cNvPr id="4" name="Footer Placeholder 3"/>
          <p:cNvSpPr>
            <a:spLocks noGrp="1"/>
          </p:cNvSpPr>
          <p:nvPr>
            <p:ph type="ftr" sz="quarter" idx="11"/>
          </p:nvPr>
        </p:nvSpPr>
        <p:spPr/>
        <p:txBody>
          <a:bodyPr/>
          <a:lstStyle>
            <a:lvl1pPr>
              <a:defRPr/>
            </a:lvl1pPr>
          </a:lstStyle>
          <a:p>
            <a:endParaRPr lang="en-GB" altLang="en-US" dirty="0"/>
          </a:p>
        </p:txBody>
      </p:sp>
      <p:sp>
        <p:nvSpPr>
          <p:cNvPr id="5" name="Slide Number Placeholder 4"/>
          <p:cNvSpPr>
            <a:spLocks noGrp="1"/>
          </p:cNvSpPr>
          <p:nvPr>
            <p:ph type="sldNum" sz="quarter" idx="12"/>
          </p:nvPr>
        </p:nvSpPr>
        <p:spPr/>
        <p:txBody>
          <a:bodyPr/>
          <a:lstStyle>
            <a:lvl1pPr>
              <a:defRPr/>
            </a:lvl1pPr>
          </a:lstStyle>
          <a:p>
            <a:fld id="{2D16CD9B-D5FF-49C3-BF68-053F80D911E2}" type="slidenum">
              <a:rPr lang="en-GB" altLang="en-US"/>
              <a:pPr/>
              <a:t>‹#›</a:t>
            </a:fld>
            <a:endParaRPr lang="en-GB" altLang="en-US" dirty="0"/>
          </a:p>
        </p:txBody>
      </p:sp>
    </p:spTree>
    <p:extLst>
      <p:ext uri="{BB962C8B-B14F-4D97-AF65-F5344CB8AC3E}">
        <p14:creationId xmlns:p14="http://schemas.microsoft.com/office/powerpoint/2010/main" val="6289511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endParaRPr lang="en-GB" altLang="en-US" dirty="0"/>
          </a:p>
        </p:txBody>
      </p:sp>
      <p:sp>
        <p:nvSpPr>
          <p:cNvPr id="3" name="Footer Placeholder 2"/>
          <p:cNvSpPr>
            <a:spLocks noGrp="1"/>
          </p:cNvSpPr>
          <p:nvPr>
            <p:ph type="ftr" sz="quarter" idx="11"/>
          </p:nvPr>
        </p:nvSpPr>
        <p:spPr/>
        <p:txBody>
          <a:bodyPr/>
          <a:lstStyle>
            <a:lvl1pPr>
              <a:defRPr/>
            </a:lvl1pPr>
          </a:lstStyle>
          <a:p>
            <a:endParaRPr lang="en-GB" altLang="en-US" dirty="0"/>
          </a:p>
        </p:txBody>
      </p:sp>
      <p:sp>
        <p:nvSpPr>
          <p:cNvPr id="4" name="Slide Number Placeholder 3"/>
          <p:cNvSpPr>
            <a:spLocks noGrp="1"/>
          </p:cNvSpPr>
          <p:nvPr>
            <p:ph type="sldNum" sz="quarter" idx="12"/>
          </p:nvPr>
        </p:nvSpPr>
        <p:spPr/>
        <p:txBody>
          <a:bodyPr/>
          <a:lstStyle>
            <a:lvl1pPr>
              <a:defRPr/>
            </a:lvl1pPr>
          </a:lstStyle>
          <a:p>
            <a:fld id="{875621F3-5B24-469A-9DDE-831A5A7D41F7}" type="slidenum">
              <a:rPr lang="en-GB" altLang="en-US"/>
              <a:pPr/>
              <a:t>‹#›</a:t>
            </a:fld>
            <a:endParaRPr lang="en-GB" altLang="en-US" dirty="0"/>
          </a:p>
        </p:txBody>
      </p:sp>
    </p:spTree>
    <p:extLst>
      <p:ext uri="{BB962C8B-B14F-4D97-AF65-F5344CB8AC3E}">
        <p14:creationId xmlns:p14="http://schemas.microsoft.com/office/powerpoint/2010/main" val="27142889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GB" altLang="en-US" dirty="0"/>
          </a:p>
        </p:txBody>
      </p:sp>
      <p:sp>
        <p:nvSpPr>
          <p:cNvPr id="6" name="Footer Placeholder 5"/>
          <p:cNvSpPr>
            <a:spLocks noGrp="1"/>
          </p:cNvSpPr>
          <p:nvPr>
            <p:ph type="ftr" sz="quarter" idx="11"/>
          </p:nvPr>
        </p:nvSpPr>
        <p:spPr/>
        <p:txBody>
          <a:bodyPr/>
          <a:lstStyle>
            <a:lvl1pPr>
              <a:defRPr/>
            </a:lvl1pPr>
          </a:lstStyle>
          <a:p>
            <a:endParaRPr lang="en-GB" altLang="en-US" dirty="0"/>
          </a:p>
        </p:txBody>
      </p:sp>
      <p:sp>
        <p:nvSpPr>
          <p:cNvPr id="7" name="Slide Number Placeholder 6"/>
          <p:cNvSpPr>
            <a:spLocks noGrp="1"/>
          </p:cNvSpPr>
          <p:nvPr>
            <p:ph type="sldNum" sz="quarter" idx="12"/>
          </p:nvPr>
        </p:nvSpPr>
        <p:spPr/>
        <p:txBody>
          <a:bodyPr/>
          <a:lstStyle>
            <a:lvl1pPr>
              <a:defRPr/>
            </a:lvl1pPr>
          </a:lstStyle>
          <a:p>
            <a:fld id="{E3199256-D5BA-4712-9157-8B10D8ADFFA7}" type="slidenum">
              <a:rPr lang="en-GB" altLang="en-US"/>
              <a:pPr/>
              <a:t>‹#›</a:t>
            </a:fld>
            <a:endParaRPr lang="en-GB" altLang="en-US" dirty="0"/>
          </a:p>
        </p:txBody>
      </p:sp>
    </p:spTree>
    <p:extLst>
      <p:ext uri="{BB962C8B-B14F-4D97-AF65-F5344CB8AC3E}">
        <p14:creationId xmlns:p14="http://schemas.microsoft.com/office/powerpoint/2010/main" val="9326145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endParaRPr lang="en-GB"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endParaRPr lang="en-GB" altLang="en-US" dirty="0"/>
          </a:p>
        </p:txBody>
      </p:sp>
      <p:sp>
        <p:nvSpPr>
          <p:cNvPr id="6" name="Footer Placeholder 5"/>
          <p:cNvSpPr>
            <a:spLocks noGrp="1"/>
          </p:cNvSpPr>
          <p:nvPr>
            <p:ph type="ftr" sz="quarter" idx="11"/>
          </p:nvPr>
        </p:nvSpPr>
        <p:spPr/>
        <p:txBody>
          <a:bodyPr/>
          <a:lstStyle>
            <a:lvl1pPr>
              <a:defRPr/>
            </a:lvl1pPr>
          </a:lstStyle>
          <a:p>
            <a:endParaRPr lang="en-GB" altLang="en-US" dirty="0"/>
          </a:p>
        </p:txBody>
      </p:sp>
      <p:sp>
        <p:nvSpPr>
          <p:cNvPr id="7" name="Slide Number Placeholder 6"/>
          <p:cNvSpPr>
            <a:spLocks noGrp="1"/>
          </p:cNvSpPr>
          <p:nvPr>
            <p:ph type="sldNum" sz="quarter" idx="12"/>
          </p:nvPr>
        </p:nvSpPr>
        <p:spPr/>
        <p:txBody>
          <a:bodyPr/>
          <a:lstStyle>
            <a:lvl1pPr>
              <a:defRPr/>
            </a:lvl1pPr>
          </a:lstStyle>
          <a:p>
            <a:fld id="{7B0B9132-1928-4F08-8FF1-EA43AF604EC9}" type="slidenum">
              <a:rPr lang="en-GB" altLang="en-US"/>
              <a:pPr/>
              <a:t>‹#›</a:t>
            </a:fld>
            <a:endParaRPr lang="en-GB" altLang="en-US" dirty="0"/>
          </a:p>
        </p:txBody>
      </p:sp>
    </p:spTree>
    <p:extLst>
      <p:ext uri="{BB962C8B-B14F-4D97-AF65-F5344CB8AC3E}">
        <p14:creationId xmlns:p14="http://schemas.microsoft.com/office/powerpoint/2010/main" val="293841489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 /><Relationship Id="rId13" Type="http://schemas.openxmlformats.org/officeDocument/2006/relationships/image" Target="../media/image1.png" /><Relationship Id="rId3" Type="http://schemas.openxmlformats.org/officeDocument/2006/relationships/slideLayout" Target="../slideLayouts/slideLayout3.xml" /><Relationship Id="rId7" Type="http://schemas.openxmlformats.org/officeDocument/2006/relationships/slideLayout" Target="../slideLayouts/slideLayout7.xml" /><Relationship Id="rId12" Type="http://schemas.openxmlformats.org/officeDocument/2006/relationships/theme" Target="../theme/theme1.xml" /><Relationship Id="rId2" Type="http://schemas.openxmlformats.org/officeDocument/2006/relationships/slideLayout" Target="../slideLayouts/slideLayout2.xml" /><Relationship Id="rId1" Type="http://schemas.openxmlformats.org/officeDocument/2006/relationships/slideLayout" Target="../slideLayouts/slideLayout1.xml" /><Relationship Id="rId6" Type="http://schemas.openxmlformats.org/officeDocument/2006/relationships/slideLayout" Target="../slideLayouts/slideLayout6.xml" /><Relationship Id="rId11" Type="http://schemas.openxmlformats.org/officeDocument/2006/relationships/slideLayout" Target="../slideLayouts/slideLayout11.xml" /><Relationship Id="rId5" Type="http://schemas.openxmlformats.org/officeDocument/2006/relationships/slideLayout" Target="../slideLayouts/slideLayout5.xml" /><Relationship Id="rId10" Type="http://schemas.openxmlformats.org/officeDocument/2006/relationships/slideLayout" Target="../slideLayouts/slideLayout10.xml" /><Relationship Id="rId4" Type="http://schemas.openxmlformats.org/officeDocument/2006/relationships/slideLayout" Target="../slideLayouts/slideLayout4.xml" /><Relationship Id="rId9" Type="http://schemas.openxmlformats.org/officeDocument/2006/relationships/slideLayout" Target="../slideLayouts/slideLayout9.xml"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95288" y="1339850"/>
            <a:ext cx="8229600" cy="936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GB" altLang="en-US"/>
              <a:t>Title</a:t>
            </a:r>
          </a:p>
        </p:txBody>
      </p:sp>
      <p:sp>
        <p:nvSpPr>
          <p:cNvPr id="1027" name="Rectangle 3"/>
          <p:cNvSpPr>
            <a:spLocks noGrp="1" noChangeArrowheads="1"/>
          </p:cNvSpPr>
          <p:nvPr>
            <p:ph type="body" idx="1"/>
          </p:nvPr>
        </p:nvSpPr>
        <p:spPr bwMode="auto">
          <a:xfrm>
            <a:off x="457200" y="2492375"/>
            <a:ext cx="8229600" cy="35290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fr-BE" altLang="en-US"/>
              <a:t>Second level</a:t>
            </a:r>
            <a:endParaRPr lang="en-GB" altLang="en-US"/>
          </a:p>
          <a:p>
            <a:pPr lvl="1"/>
            <a:r>
              <a:rPr lang="en-GB" altLang="en-US"/>
              <a:t>Third level</a:t>
            </a:r>
          </a:p>
          <a:p>
            <a:pPr lvl="2"/>
            <a:r>
              <a:rPr lang="en-GB" altLang="en-US"/>
              <a:t>- Fourth level</a:t>
            </a:r>
          </a:p>
        </p:txBody>
      </p:sp>
      <p:sp>
        <p:nvSpPr>
          <p:cNvPr id="1028" name="Rectangle 4"/>
          <p:cNvSpPr>
            <a:spLocks noGrp="1" noChangeArrowheads="1"/>
          </p:cNvSpPr>
          <p:nvPr>
            <p:ph type="dt" sz="half" idx="2"/>
          </p:nvPr>
        </p:nvSpPr>
        <p:spPr bwMode="auto">
          <a:xfrm>
            <a:off x="457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solidFill>
                  <a:schemeClr val="tx1"/>
                </a:solidFill>
                <a:latin typeface="Arial" charset="0"/>
              </a:defRPr>
            </a:lvl1pPr>
          </a:lstStyle>
          <a:p>
            <a:endParaRPr lang="en-GB" altLang="en-US" dirty="0"/>
          </a:p>
        </p:txBody>
      </p:sp>
      <p:sp>
        <p:nvSpPr>
          <p:cNvPr id="1029" name="Rectangle 5"/>
          <p:cNvSpPr>
            <a:spLocks noGrp="1" noChangeArrowheads="1"/>
          </p:cNvSpPr>
          <p:nvPr>
            <p:ph type="ftr" sz="quarter" idx="3"/>
          </p:nvPr>
        </p:nvSpPr>
        <p:spPr bwMode="auto">
          <a:xfrm>
            <a:off x="3124200" y="6245225"/>
            <a:ext cx="2895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solidFill>
                  <a:schemeClr val="tx1"/>
                </a:solidFill>
                <a:latin typeface="Arial" charset="0"/>
              </a:defRPr>
            </a:lvl1pPr>
          </a:lstStyle>
          <a:p>
            <a:endParaRPr lang="en-GB" altLang="en-US" dirty="0"/>
          </a:p>
        </p:txBody>
      </p:sp>
      <p:sp>
        <p:nvSpPr>
          <p:cNvPr id="1030" name="Rectangle 6"/>
          <p:cNvSpPr>
            <a:spLocks noGrp="1" noChangeArrowheads="1"/>
          </p:cNvSpPr>
          <p:nvPr>
            <p:ph type="sldNum" sz="quarter" idx="4"/>
          </p:nvPr>
        </p:nvSpPr>
        <p:spPr bwMode="auto">
          <a:xfrm>
            <a:off x="6553200" y="6245225"/>
            <a:ext cx="2133600" cy="476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solidFill>
                  <a:schemeClr val="tx1"/>
                </a:solidFill>
                <a:latin typeface="Arial" charset="0"/>
              </a:defRPr>
            </a:lvl1pPr>
          </a:lstStyle>
          <a:p>
            <a:fld id="{7A2B11B6-896D-4D5A-8F65-1FEAE273B81B}" type="slidenum">
              <a:rPr lang="en-GB" altLang="en-US"/>
              <a:pPr/>
              <a:t>‹#›</a:t>
            </a:fld>
            <a:endParaRPr lang="en-GB" altLang="en-US" dirty="0"/>
          </a:p>
        </p:txBody>
      </p:sp>
      <p:sp>
        <p:nvSpPr>
          <p:cNvPr id="15" name="Rectangle 14"/>
          <p:cNvSpPr/>
          <p:nvPr/>
        </p:nvSpPr>
        <p:spPr>
          <a:xfrm>
            <a:off x="0" y="0"/>
            <a:ext cx="9144000" cy="957263"/>
          </a:xfrm>
          <a:prstGeom prst="rect">
            <a:avLst/>
          </a:prstGeom>
          <a:solidFill>
            <a:srgbClr val="0F5494"/>
          </a:solidFill>
          <a:ln>
            <a:solidFill>
              <a:srgbClr val="0F5494"/>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sz="1800" dirty="0"/>
          </a:p>
        </p:txBody>
      </p:sp>
      <p:sp>
        <p:nvSpPr>
          <p:cNvPr id="7" name="Rectangle 6"/>
          <p:cNvSpPr/>
          <p:nvPr/>
        </p:nvSpPr>
        <p:spPr>
          <a:xfrm>
            <a:off x="4262438" y="6659563"/>
            <a:ext cx="611187" cy="198437"/>
          </a:xfrm>
          <a:prstGeom prst="rect">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US" sz="1800" dirty="0"/>
          </a:p>
        </p:txBody>
      </p:sp>
      <p:pic>
        <p:nvPicPr>
          <p:cNvPr id="1041" name="Picture 17" descr="LOGO CE_Vertical_EN_NEG_quadri_H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3957638" y="258763"/>
            <a:ext cx="1436687" cy="1004887"/>
          </a:xfrm>
          <a:prstGeom prst="rect">
            <a:avLst/>
          </a:prstGeom>
          <a:noFill/>
          <a:extLst>
            <a:ext uri="{909E8E84-426E-40DD-AFC4-6F175D3DCCD1}">
              <a14:hiddenFill xmlns:a14="http://schemas.microsoft.com/office/drawing/2010/main">
                <a:solidFill>
                  <a:srgbClr val="FFFFFF"/>
                </a:solidFill>
              </a14:hiddenFill>
            </a:ext>
          </a:extLst>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marL="358775" algn="l" rtl="0" eaLnBrk="1" fontAlgn="base" hangingPunct="1">
        <a:spcBef>
          <a:spcPct val="0"/>
        </a:spcBef>
        <a:spcAft>
          <a:spcPct val="0"/>
        </a:spcAft>
        <a:defRPr sz="3000" b="1">
          <a:solidFill>
            <a:srgbClr val="0F5494"/>
          </a:solidFill>
          <a:latin typeface="+mj-lt"/>
          <a:ea typeface="+mj-ea"/>
          <a:cs typeface="+mj-cs"/>
        </a:defRPr>
      </a:lvl1pPr>
      <a:lvl2pPr marL="358775" algn="l" rtl="0" eaLnBrk="1" fontAlgn="base" hangingPunct="1">
        <a:spcBef>
          <a:spcPct val="0"/>
        </a:spcBef>
        <a:spcAft>
          <a:spcPct val="0"/>
        </a:spcAft>
        <a:defRPr sz="3000" b="1">
          <a:solidFill>
            <a:srgbClr val="0F5494"/>
          </a:solidFill>
          <a:latin typeface="Verdana" pitchFamily="34" charset="0"/>
        </a:defRPr>
      </a:lvl2pPr>
      <a:lvl3pPr marL="358775" algn="l" rtl="0" eaLnBrk="1" fontAlgn="base" hangingPunct="1">
        <a:spcBef>
          <a:spcPct val="0"/>
        </a:spcBef>
        <a:spcAft>
          <a:spcPct val="0"/>
        </a:spcAft>
        <a:defRPr sz="3000" b="1">
          <a:solidFill>
            <a:srgbClr val="0F5494"/>
          </a:solidFill>
          <a:latin typeface="Verdana" pitchFamily="34" charset="0"/>
        </a:defRPr>
      </a:lvl3pPr>
      <a:lvl4pPr marL="358775" algn="l" rtl="0" eaLnBrk="1" fontAlgn="base" hangingPunct="1">
        <a:spcBef>
          <a:spcPct val="0"/>
        </a:spcBef>
        <a:spcAft>
          <a:spcPct val="0"/>
        </a:spcAft>
        <a:defRPr sz="3000" b="1">
          <a:solidFill>
            <a:srgbClr val="0F5494"/>
          </a:solidFill>
          <a:latin typeface="Verdana" pitchFamily="34" charset="0"/>
        </a:defRPr>
      </a:lvl4pPr>
      <a:lvl5pPr marL="358775" algn="l" rtl="0" eaLnBrk="1" fontAlgn="base" hangingPunct="1">
        <a:spcBef>
          <a:spcPct val="0"/>
        </a:spcBef>
        <a:spcAft>
          <a:spcPct val="0"/>
        </a:spcAft>
        <a:defRPr sz="3000" b="1">
          <a:solidFill>
            <a:srgbClr val="0F5494"/>
          </a:solidFill>
          <a:latin typeface="Verdana" pitchFamily="34" charset="0"/>
        </a:defRPr>
      </a:lvl5pPr>
      <a:lvl6pPr marL="815975" algn="l" rtl="0" eaLnBrk="1" fontAlgn="base" hangingPunct="1">
        <a:spcBef>
          <a:spcPct val="0"/>
        </a:spcBef>
        <a:spcAft>
          <a:spcPct val="0"/>
        </a:spcAft>
        <a:defRPr sz="3000" b="1">
          <a:solidFill>
            <a:srgbClr val="0F5494"/>
          </a:solidFill>
          <a:latin typeface="Verdana" pitchFamily="34" charset="0"/>
        </a:defRPr>
      </a:lvl6pPr>
      <a:lvl7pPr marL="1273175" algn="l" rtl="0" eaLnBrk="1" fontAlgn="base" hangingPunct="1">
        <a:spcBef>
          <a:spcPct val="0"/>
        </a:spcBef>
        <a:spcAft>
          <a:spcPct val="0"/>
        </a:spcAft>
        <a:defRPr sz="3000" b="1">
          <a:solidFill>
            <a:srgbClr val="0F5494"/>
          </a:solidFill>
          <a:latin typeface="Verdana" pitchFamily="34" charset="0"/>
        </a:defRPr>
      </a:lvl7pPr>
      <a:lvl8pPr marL="1730375" algn="l" rtl="0" eaLnBrk="1" fontAlgn="base" hangingPunct="1">
        <a:spcBef>
          <a:spcPct val="0"/>
        </a:spcBef>
        <a:spcAft>
          <a:spcPct val="0"/>
        </a:spcAft>
        <a:defRPr sz="3000" b="1">
          <a:solidFill>
            <a:srgbClr val="0F5494"/>
          </a:solidFill>
          <a:latin typeface="Verdana" pitchFamily="34" charset="0"/>
        </a:defRPr>
      </a:lvl8pPr>
      <a:lvl9pPr marL="2187575" algn="l" rtl="0" eaLnBrk="1" fontAlgn="base" hangingPunct="1">
        <a:spcBef>
          <a:spcPct val="0"/>
        </a:spcBef>
        <a:spcAft>
          <a:spcPct val="0"/>
        </a:spcAft>
        <a:defRPr sz="3000" b="1">
          <a:solidFill>
            <a:srgbClr val="0F5494"/>
          </a:solidFill>
          <a:latin typeface="Verdana" pitchFamily="34" charset="0"/>
        </a:defRPr>
      </a:lvl9pPr>
    </p:titleStyle>
    <p:bodyStyle>
      <a:lvl1pPr marL="342900" indent="-342900" algn="l" rtl="0" eaLnBrk="1" fontAlgn="base" hangingPunct="1">
        <a:spcBef>
          <a:spcPct val="20000"/>
        </a:spcBef>
        <a:spcAft>
          <a:spcPct val="0"/>
        </a:spcAft>
        <a:buClr>
          <a:schemeClr val="bg1"/>
        </a:buClr>
        <a:buChar char="•"/>
        <a:defRPr sz="2400" i="1">
          <a:solidFill>
            <a:srgbClr val="0F5494"/>
          </a:solidFill>
          <a:latin typeface="+mn-lt"/>
          <a:ea typeface="+mn-ea"/>
          <a:cs typeface="+mn-cs"/>
        </a:defRPr>
      </a:lvl1pPr>
      <a:lvl2pPr marL="742950" indent="-285750" algn="l" rtl="0" eaLnBrk="1" fontAlgn="base" hangingPunct="1">
        <a:spcBef>
          <a:spcPct val="20000"/>
        </a:spcBef>
        <a:spcAft>
          <a:spcPct val="0"/>
        </a:spcAft>
        <a:buClr>
          <a:srgbClr val="009FBA"/>
        </a:buClr>
        <a:buChar char="•"/>
        <a:defRPr sz="2000" b="1">
          <a:solidFill>
            <a:srgbClr val="0F5494"/>
          </a:solidFill>
          <a:latin typeface="+mn-lt"/>
        </a:defRPr>
      </a:lvl2pPr>
      <a:lvl3pPr marL="1143000" indent="-228600" algn="l" rtl="0" eaLnBrk="1" fontAlgn="base" hangingPunct="1">
        <a:spcBef>
          <a:spcPct val="20000"/>
        </a:spcBef>
        <a:spcAft>
          <a:spcPct val="0"/>
        </a:spcAft>
        <a:defRPr sz="1400">
          <a:solidFill>
            <a:srgbClr val="0F5494"/>
          </a:solidFill>
          <a:latin typeface="+mn-lt"/>
        </a:defRPr>
      </a:lvl3pPr>
      <a:lvl4pPr marL="1600200" indent="-228600" algn="l" rtl="0" eaLnBrk="1" fontAlgn="base" hangingPunct="1">
        <a:spcBef>
          <a:spcPct val="20000"/>
        </a:spcBef>
        <a:spcAft>
          <a:spcPct val="0"/>
        </a:spcAft>
        <a:buChar char="–"/>
        <a:defRPr sz="2000">
          <a:solidFill>
            <a:schemeClr val="tx1"/>
          </a:solidFill>
          <a:latin typeface="Arial" charset="0"/>
        </a:defRPr>
      </a:lvl4pPr>
      <a:lvl5pPr marL="2057400" indent="-228600" algn="l" rtl="0" eaLnBrk="1" fontAlgn="base" hangingPunct="1">
        <a:spcBef>
          <a:spcPct val="20000"/>
        </a:spcBef>
        <a:spcAft>
          <a:spcPct val="0"/>
        </a:spcAft>
        <a:buChar char="»"/>
        <a:defRPr sz="2000">
          <a:solidFill>
            <a:schemeClr val="tx1"/>
          </a:solidFill>
          <a:latin typeface="Arial" charset="0"/>
        </a:defRPr>
      </a:lvl5pPr>
      <a:lvl6pPr marL="2514600" indent="-228600" algn="l" rtl="0" eaLnBrk="1" fontAlgn="base" hangingPunct="1">
        <a:spcBef>
          <a:spcPct val="20000"/>
        </a:spcBef>
        <a:spcAft>
          <a:spcPct val="0"/>
        </a:spcAft>
        <a:buChar char="»"/>
        <a:defRPr sz="2000">
          <a:solidFill>
            <a:schemeClr val="tx1"/>
          </a:solidFill>
          <a:latin typeface="Arial" charset="0"/>
        </a:defRPr>
      </a:lvl6pPr>
      <a:lvl7pPr marL="2971800" indent="-228600" algn="l" rtl="0" eaLnBrk="1" fontAlgn="base" hangingPunct="1">
        <a:spcBef>
          <a:spcPct val="20000"/>
        </a:spcBef>
        <a:spcAft>
          <a:spcPct val="0"/>
        </a:spcAft>
        <a:buChar char="»"/>
        <a:defRPr sz="2000">
          <a:solidFill>
            <a:schemeClr val="tx1"/>
          </a:solidFill>
          <a:latin typeface="Arial" charset="0"/>
        </a:defRPr>
      </a:lvl7pPr>
      <a:lvl8pPr marL="3429000" indent="-228600" algn="l" rtl="0" eaLnBrk="1" fontAlgn="base" hangingPunct="1">
        <a:spcBef>
          <a:spcPct val="20000"/>
        </a:spcBef>
        <a:spcAft>
          <a:spcPct val="0"/>
        </a:spcAft>
        <a:buChar char="»"/>
        <a:defRPr sz="2000">
          <a:solidFill>
            <a:schemeClr val="tx1"/>
          </a:solidFill>
          <a:latin typeface="Arial" charset="0"/>
        </a:defRPr>
      </a:lvl8pPr>
      <a:lvl9pPr marL="3886200" indent="-228600" algn="l" rtl="0" eaLnBrk="1" fontAlgn="base" hangingPunct="1">
        <a:spcBef>
          <a:spcPct val="20000"/>
        </a:spcBef>
        <a:spcAft>
          <a:spcPct val="0"/>
        </a:spcAft>
        <a:buChar char="»"/>
        <a:defRPr sz="2000">
          <a:solidFill>
            <a:schemeClr val="tx1"/>
          </a:solidFill>
          <a:latin typeface="Arial"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 /><Relationship Id="rId1" Type="http://schemas.openxmlformats.org/officeDocument/2006/relationships/slideLayout" Target="../slideLayouts/slideLayout1.xml" /></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 /><Relationship Id="rId1" Type="http://schemas.openxmlformats.org/officeDocument/2006/relationships/slideLayout" Target="../slideLayouts/slideLayout2.xml" /></Relationships>
</file>

<file path=ppt/slides/_rels/slide11.xml.rels><?xml version="1.0" encoding="UTF-8" standalone="yes"?>
<Relationships xmlns="http://schemas.openxmlformats.org/package/2006/relationships"><Relationship Id="rId8" Type="http://schemas.openxmlformats.org/officeDocument/2006/relationships/tags" Target="../tags/tag28.xml" /><Relationship Id="rId3" Type="http://schemas.openxmlformats.org/officeDocument/2006/relationships/tags" Target="../tags/tag23.xml" /><Relationship Id="rId7" Type="http://schemas.openxmlformats.org/officeDocument/2006/relationships/tags" Target="../tags/tag27.xml" /><Relationship Id="rId12" Type="http://schemas.openxmlformats.org/officeDocument/2006/relationships/notesSlide" Target="../notesSlides/notesSlide11.xml" /><Relationship Id="rId2" Type="http://schemas.openxmlformats.org/officeDocument/2006/relationships/tags" Target="../tags/tag22.xml" /><Relationship Id="rId1" Type="http://schemas.openxmlformats.org/officeDocument/2006/relationships/tags" Target="../tags/tag21.xml" /><Relationship Id="rId6" Type="http://schemas.openxmlformats.org/officeDocument/2006/relationships/tags" Target="../tags/tag26.xml" /><Relationship Id="rId11" Type="http://schemas.openxmlformats.org/officeDocument/2006/relationships/slideLayout" Target="../slideLayouts/slideLayout7.xml" /><Relationship Id="rId5" Type="http://schemas.openxmlformats.org/officeDocument/2006/relationships/tags" Target="../tags/tag25.xml" /><Relationship Id="rId10" Type="http://schemas.openxmlformats.org/officeDocument/2006/relationships/tags" Target="../tags/tag30.xml" /><Relationship Id="rId4" Type="http://schemas.openxmlformats.org/officeDocument/2006/relationships/tags" Target="../tags/tag24.xml" /><Relationship Id="rId9" Type="http://schemas.openxmlformats.org/officeDocument/2006/relationships/tags" Target="../tags/tag29.xml" /></Relationships>
</file>

<file path=ppt/slides/_rels/slide12.xml.rels><?xml version="1.0" encoding="UTF-8" standalone="yes"?>
<Relationships xmlns="http://schemas.openxmlformats.org/package/2006/relationships"><Relationship Id="rId3" Type="http://schemas.openxmlformats.org/officeDocument/2006/relationships/image" Target="../media/image7.png" /><Relationship Id="rId2" Type="http://schemas.openxmlformats.org/officeDocument/2006/relationships/notesSlide" Target="../notesSlides/notesSlide12.xml" /><Relationship Id="rId1" Type="http://schemas.openxmlformats.org/officeDocument/2006/relationships/slideLayout" Target="../slideLayouts/slideLayout2.xml" /></Relationships>
</file>

<file path=ppt/slides/_rels/slide13.xml.rels><?xml version="1.0" encoding="UTF-8" standalone="yes"?>
<Relationships xmlns="http://schemas.openxmlformats.org/package/2006/relationships"><Relationship Id="rId3" Type="http://schemas.openxmlformats.org/officeDocument/2006/relationships/image" Target="../media/image8.png" /><Relationship Id="rId2" Type="http://schemas.openxmlformats.org/officeDocument/2006/relationships/notesSlide" Target="../notesSlides/notesSlide13.xml" /><Relationship Id="rId1" Type="http://schemas.openxmlformats.org/officeDocument/2006/relationships/slideLayout" Target="../slideLayouts/slideLayout2.xml" /></Relationships>
</file>

<file path=ppt/slides/_rels/slide14.xml.rels><?xml version="1.0" encoding="UTF-8" standalone="yes"?>
<Relationships xmlns="http://schemas.openxmlformats.org/package/2006/relationships"><Relationship Id="rId3" Type="http://schemas.openxmlformats.org/officeDocument/2006/relationships/image" Target="../media/image9.png" /><Relationship Id="rId2" Type="http://schemas.openxmlformats.org/officeDocument/2006/relationships/notesSlide" Target="../notesSlides/notesSlide14.xml" /><Relationship Id="rId1" Type="http://schemas.openxmlformats.org/officeDocument/2006/relationships/slideLayout" Target="../slideLayouts/slideLayout2.xml" /></Relationships>
</file>

<file path=ppt/slides/_rels/slide15.xml.rels><?xml version="1.0" encoding="UTF-8" standalone="yes"?>
<Relationships xmlns="http://schemas.openxmlformats.org/package/2006/relationships"><Relationship Id="rId3" Type="http://schemas.openxmlformats.org/officeDocument/2006/relationships/image" Target="../media/image10.jpeg" /><Relationship Id="rId2" Type="http://schemas.openxmlformats.org/officeDocument/2006/relationships/notesSlide" Target="../notesSlides/notesSlide15.xml" /><Relationship Id="rId1" Type="http://schemas.openxmlformats.org/officeDocument/2006/relationships/slideLayout" Target="../slideLayouts/slideLayout2.xml" /></Relationships>
</file>

<file path=ppt/slides/_rels/slide2.xml.rels><?xml version="1.0" encoding="UTF-8" standalone="yes"?>
<Relationships xmlns="http://schemas.openxmlformats.org/package/2006/relationships"><Relationship Id="rId8" Type="http://schemas.openxmlformats.org/officeDocument/2006/relationships/diagramColors" Target="../diagrams/colors1.xml" /><Relationship Id="rId3" Type="http://schemas.openxmlformats.org/officeDocument/2006/relationships/image" Target="../media/image3.png" /><Relationship Id="rId7" Type="http://schemas.openxmlformats.org/officeDocument/2006/relationships/diagramQuickStyle" Target="../diagrams/quickStyle1.xml" /><Relationship Id="rId2" Type="http://schemas.openxmlformats.org/officeDocument/2006/relationships/notesSlide" Target="../notesSlides/notesSlide2.xml" /><Relationship Id="rId1" Type="http://schemas.openxmlformats.org/officeDocument/2006/relationships/slideLayout" Target="../slideLayouts/slideLayout2.xml" /><Relationship Id="rId6" Type="http://schemas.openxmlformats.org/officeDocument/2006/relationships/diagramLayout" Target="../diagrams/layout1.xml" /><Relationship Id="rId5" Type="http://schemas.openxmlformats.org/officeDocument/2006/relationships/diagramData" Target="../diagrams/data1.xml" /><Relationship Id="rId4" Type="http://schemas.microsoft.com/office/2007/relationships/hdphoto" Target="../media/hdphoto1.wdp" /><Relationship Id="rId9" Type="http://schemas.microsoft.com/office/2007/relationships/diagramDrawing" Target="../diagrams/drawing1.xml" /></Relationships>
</file>

<file path=ppt/slides/_rels/slide3.xml.rels><?xml version="1.0" encoding="UTF-8" standalone="yes"?>
<Relationships xmlns="http://schemas.openxmlformats.org/package/2006/relationships"><Relationship Id="rId3" Type="http://schemas.openxmlformats.org/officeDocument/2006/relationships/image" Target="../media/image4.png" /><Relationship Id="rId2" Type="http://schemas.openxmlformats.org/officeDocument/2006/relationships/notesSlide" Target="../notesSlides/notesSlide3.xml" /><Relationship Id="rId1" Type="http://schemas.openxmlformats.org/officeDocument/2006/relationships/slideLayout" Target="../slideLayouts/slideLayout2.xml" /></Relationships>
</file>

<file path=ppt/slides/_rels/slide4.xml.rels><?xml version="1.0" encoding="UTF-8" standalone="yes"?>
<Relationships xmlns="http://schemas.openxmlformats.org/package/2006/relationships"><Relationship Id="rId3" Type="http://schemas.openxmlformats.org/officeDocument/2006/relationships/chart" Target="../charts/chart1.xml" /><Relationship Id="rId2" Type="http://schemas.openxmlformats.org/officeDocument/2006/relationships/notesSlide" Target="../notesSlides/notesSlide4.xml" /><Relationship Id="rId1" Type="http://schemas.openxmlformats.org/officeDocument/2006/relationships/slideLayout" Target="../slideLayouts/slideLayout2.xml" /><Relationship Id="rId4" Type="http://schemas.openxmlformats.org/officeDocument/2006/relationships/chart" Target="../charts/chart2.xml" /></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 /><Relationship Id="rId1" Type="http://schemas.openxmlformats.org/officeDocument/2006/relationships/slideLayout" Target="../slideLayouts/slideLayout2.xml" /></Relationships>
</file>

<file path=ppt/slides/_rels/slide6.xml.rels><?xml version="1.0" encoding="UTF-8" standalone="yes"?>
<Relationships xmlns="http://schemas.openxmlformats.org/package/2006/relationships"><Relationship Id="rId3" Type="http://schemas.openxmlformats.org/officeDocument/2006/relationships/image" Target="../media/image5.jpeg" /><Relationship Id="rId2" Type="http://schemas.openxmlformats.org/officeDocument/2006/relationships/notesSlide" Target="../notesSlides/notesSlide6.xml" /><Relationship Id="rId1" Type="http://schemas.openxmlformats.org/officeDocument/2006/relationships/slideLayout" Target="../slideLayouts/slideLayout2.xml" /><Relationship Id="rId4" Type="http://schemas.microsoft.com/office/2007/relationships/hdphoto" Target="../media/hdphoto2.wdp" /></Relationships>
</file>

<file path=ppt/slides/_rels/slide7.xml.rels><?xml version="1.0" encoding="UTF-8" standalone="yes"?>
<Relationships xmlns="http://schemas.openxmlformats.org/package/2006/relationships"><Relationship Id="rId3" Type="http://schemas.openxmlformats.org/officeDocument/2006/relationships/image" Target="../media/image6.jpeg" /><Relationship Id="rId2" Type="http://schemas.openxmlformats.org/officeDocument/2006/relationships/notesSlide" Target="../notesSlides/notesSlide7.xml" /><Relationship Id="rId1" Type="http://schemas.openxmlformats.org/officeDocument/2006/relationships/slideLayout" Target="../slideLayouts/slideLayout2.xml" /></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 /><Relationship Id="rId2" Type="http://schemas.openxmlformats.org/officeDocument/2006/relationships/slideLayout" Target="../slideLayouts/slideLayout2.xml" /><Relationship Id="rId1" Type="http://schemas.openxmlformats.org/officeDocument/2006/relationships/tags" Target="../tags/tag1.xml" /><Relationship Id="rId5" Type="http://schemas.openxmlformats.org/officeDocument/2006/relationships/image" Target="../media/image8.png" /><Relationship Id="rId4" Type="http://schemas.openxmlformats.org/officeDocument/2006/relationships/image" Target="../media/image7.png" /></Relationships>
</file>

<file path=ppt/slides/_rels/slide9.xml.rels><?xml version="1.0" encoding="UTF-8" standalone="yes"?>
<Relationships xmlns="http://schemas.openxmlformats.org/package/2006/relationships"><Relationship Id="rId8" Type="http://schemas.openxmlformats.org/officeDocument/2006/relationships/tags" Target="../tags/tag9.xml" /><Relationship Id="rId13" Type="http://schemas.openxmlformats.org/officeDocument/2006/relationships/tags" Target="../tags/tag14.xml" /><Relationship Id="rId18" Type="http://schemas.openxmlformats.org/officeDocument/2006/relationships/tags" Target="../tags/tag19.xml" /><Relationship Id="rId3" Type="http://schemas.openxmlformats.org/officeDocument/2006/relationships/tags" Target="../tags/tag4.xml" /><Relationship Id="rId21" Type="http://schemas.openxmlformats.org/officeDocument/2006/relationships/notesSlide" Target="../notesSlides/notesSlide9.xml" /><Relationship Id="rId7" Type="http://schemas.openxmlformats.org/officeDocument/2006/relationships/tags" Target="../tags/tag8.xml" /><Relationship Id="rId12" Type="http://schemas.openxmlformats.org/officeDocument/2006/relationships/tags" Target="../tags/tag13.xml" /><Relationship Id="rId17" Type="http://schemas.openxmlformats.org/officeDocument/2006/relationships/tags" Target="../tags/tag18.xml" /><Relationship Id="rId2" Type="http://schemas.openxmlformats.org/officeDocument/2006/relationships/tags" Target="../tags/tag3.xml" /><Relationship Id="rId16" Type="http://schemas.openxmlformats.org/officeDocument/2006/relationships/tags" Target="../tags/tag17.xml" /><Relationship Id="rId20" Type="http://schemas.openxmlformats.org/officeDocument/2006/relationships/slideLayout" Target="../slideLayouts/slideLayout2.xml" /><Relationship Id="rId1" Type="http://schemas.openxmlformats.org/officeDocument/2006/relationships/tags" Target="../tags/tag2.xml" /><Relationship Id="rId6" Type="http://schemas.openxmlformats.org/officeDocument/2006/relationships/tags" Target="../tags/tag7.xml" /><Relationship Id="rId11" Type="http://schemas.openxmlformats.org/officeDocument/2006/relationships/tags" Target="../tags/tag12.xml" /><Relationship Id="rId5" Type="http://schemas.openxmlformats.org/officeDocument/2006/relationships/tags" Target="../tags/tag6.xml" /><Relationship Id="rId15" Type="http://schemas.openxmlformats.org/officeDocument/2006/relationships/tags" Target="../tags/tag16.xml" /><Relationship Id="rId10" Type="http://schemas.openxmlformats.org/officeDocument/2006/relationships/tags" Target="../tags/tag11.xml" /><Relationship Id="rId19" Type="http://schemas.openxmlformats.org/officeDocument/2006/relationships/tags" Target="../tags/tag20.xml" /><Relationship Id="rId4" Type="http://schemas.openxmlformats.org/officeDocument/2006/relationships/tags" Target="../tags/tag5.xml" /><Relationship Id="rId9" Type="http://schemas.openxmlformats.org/officeDocument/2006/relationships/tags" Target="../tags/tag10.xml" /><Relationship Id="rId14" Type="http://schemas.openxmlformats.org/officeDocument/2006/relationships/tags" Target="../tags/tag15.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5" name="Rectangle 5"/>
          <p:cNvSpPr>
            <a:spLocks noGrp="1" noChangeArrowheads="1"/>
          </p:cNvSpPr>
          <p:nvPr>
            <p:ph type="ctrTitle"/>
          </p:nvPr>
        </p:nvSpPr>
        <p:spPr>
          <a:xfrm>
            <a:off x="899592" y="2204864"/>
            <a:ext cx="8136458" cy="790575"/>
          </a:xfrm>
        </p:spPr>
        <p:txBody>
          <a:bodyPr/>
          <a:lstStyle/>
          <a:p>
            <a:r>
              <a:rPr lang="en-US" altLang="en-US" sz="4000" dirty="0"/>
              <a:t>Erasmus+ </a:t>
            </a:r>
            <a:br>
              <a:rPr lang="en-US" altLang="en-US" sz="4000" dirty="0"/>
            </a:br>
            <a:r>
              <a:rPr lang="en-US" altLang="en-US" sz="4000" dirty="0"/>
              <a:t>Capacity Building in </a:t>
            </a:r>
            <a:br>
              <a:rPr lang="en-US" altLang="en-US" sz="4000" dirty="0"/>
            </a:br>
            <a:r>
              <a:rPr lang="en-US" altLang="en-US" sz="4000" dirty="0"/>
              <a:t>Higher Education </a:t>
            </a:r>
          </a:p>
        </p:txBody>
      </p:sp>
      <p:sp>
        <p:nvSpPr>
          <p:cNvPr id="81926" name="Rectangle 6"/>
          <p:cNvSpPr>
            <a:spLocks noGrp="1" noChangeArrowheads="1"/>
          </p:cNvSpPr>
          <p:nvPr>
            <p:ph type="subTitle" idx="1"/>
          </p:nvPr>
        </p:nvSpPr>
        <p:spPr>
          <a:xfrm>
            <a:off x="539552" y="3717032"/>
            <a:ext cx="8796735" cy="1728787"/>
          </a:xfrm>
        </p:spPr>
        <p:txBody>
          <a:bodyPr/>
          <a:lstStyle/>
          <a:p>
            <a:r>
              <a:rPr lang="es-ES" dirty="0" err="1"/>
              <a:t>Networking</a:t>
            </a:r>
            <a:r>
              <a:rPr lang="es-ES" dirty="0"/>
              <a:t> and </a:t>
            </a:r>
            <a:r>
              <a:rPr lang="es-ES" dirty="0" err="1"/>
              <a:t>Synergies</a:t>
            </a:r>
            <a:r>
              <a:rPr lang="es-ES" dirty="0"/>
              <a:t> </a:t>
            </a:r>
          </a:p>
          <a:p>
            <a:r>
              <a:rPr lang="es-ES" dirty="0" err="1"/>
              <a:t>among</a:t>
            </a:r>
            <a:r>
              <a:rPr lang="es-ES" dirty="0"/>
              <a:t> </a:t>
            </a:r>
            <a:r>
              <a:rPr lang="es-ES" dirty="0" err="1"/>
              <a:t>projects</a:t>
            </a:r>
            <a:r>
              <a:rPr lang="es-ES" dirty="0"/>
              <a:t> in </a:t>
            </a:r>
            <a:r>
              <a:rPr lang="es-ES" dirty="0" err="1"/>
              <a:t>the</a:t>
            </a:r>
            <a:r>
              <a:rPr lang="es-ES" dirty="0"/>
              <a:t> Western </a:t>
            </a:r>
            <a:r>
              <a:rPr lang="es-ES" dirty="0" err="1"/>
              <a:t>Balkans</a:t>
            </a:r>
            <a:endParaRPr lang="es-ES" dirty="0"/>
          </a:p>
          <a:p>
            <a:endParaRPr lang="en-GB" altLang="en-US" dirty="0"/>
          </a:p>
        </p:txBody>
      </p:sp>
      <p:sp>
        <p:nvSpPr>
          <p:cNvPr id="2" name="Rectangle 1"/>
          <p:cNvSpPr/>
          <p:nvPr/>
        </p:nvSpPr>
        <p:spPr>
          <a:xfrm>
            <a:off x="4211960" y="5301208"/>
            <a:ext cx="4572000" cy="830997"/>
          </a:xfrm>
          <a:prstGeom prst="rect">
            <a:avLst/>
          </a:prstGeom>
        </p:spPr>
        <p:txBody>
          <a:bodyPr>
            <a:spAutoFit/>
          </a:bodyPr>
          <a:lstStyle/>
          <a:p>
            <a:pPr algn="r"/>
            <a:r>
              <a:rPr lang="en-US" sz="2400" dirty="0">
                <a:solidFill>
                  <a:srgbClr val="FFC000"/>
                </a:solidFill>
                <a:latin typeface="Calibri"/>
                <a:cs typeface="Calibri"/>
              </a:rPr>
              <a:t>Grant Holders Meeting </a:t>
            </a:r>
          </a:p>
          <a:p>
            <a:pPr algn="r"/>
            <a:r>
              <a:rPr lang="en-US" sz="2400" dirty="0">
                <a:solidFill>
                  <a:srgbClr val="FFC000"/>
                </a:solidFill>
                <a:latin typeface="Calibri"/>
                <a:cs typeface="Calibri"/>
              </a:rPr>
              <a:t>28-29 January 2019</a:t>
            </a:r>
          </a:p>
        </p:txBody>
      </p:sp>
    </p:spTree>
    <p:extLst>
      <p:ext uri="{BB962C8B-B14F-4D97-AF65-F5344CB8AC3E}">
        <p14:creationId xmlns:p14="http://schemas.microsoft.com/office/powerpoint/2010/main" val="221414703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95288" y="1339850"/>
            <a:ext cx="8229600" cy="936625"/>
          </a:xfrm>
        </p:spPr>
        <p:txBody>
          <a:bodyPr/>
          <a:lstStyle/>
          <a:p>
            <a:r>
              <a:rPr lang="en-GB" dirty="0"/>
              <a:t>Common political challenges in HE in the Western Balkan region</a:t>
            </a:r>
          </a:p>
        </p:txBody>
      </p:sp>
      <p:sp>
        <p:nvSpPr>
          <p:cNvPr id="3" name="Content Placeholder 2"/>
          <p:cNvSpPr>
            <a:spLocks noGrp="1"/>
          </p:cNvSpPr>
          <p:nvPr>
            <p:ph idx="1"/>
          </p:nvPr>
        </p:nvSpPr>
        <p:spPr>
          <a:xfrm>
            <a:off x="107504" y="2492375"/>
            <a:ext cx="8784976" cy="3529013"/>
          </a:xfrm>
        </p:spPr>
        <p:txBody>
          <a:bodyPr/>
          <a:lstStyle/>
          <a:p>
            <a:pPr lvl="1">
              <a:buFont typeface="Wingdings" panose="05000000000000000000" pitchFamily="2" charset="2"/>
              <a:buChar char="v"/>
            </a:pPr>
            <a:r>
              <a:rPr lang="en-GB" b="0" dirty="0"/>
              <a:t>Recognition of qualifications (Ministerial priority of last year)</a:t>
            </a:r>
          </a:p>
          <a:p>
            <a:pPr lvl="1">
              <a:buFont typeface="Wingdings" panose="05000000000000000000" pitchFamily="2" charset="2"/>
              <a:buChar char="v"/>
            </a:pPr>
            <a:r>
              <a:rPr lang="en-GB" b="0" dirty="0"/>
              <a:t>Inclusion and access to equitable education (special focus in the new Programme post 2020)</a:t>
            </a:r>
          </a:p>
          <a:p>
            <a:pPr lvl="1">
              <a:buFont typeface="Wingdings" panose="05000000000000000000" pitchFamily="2" charset="2"/>
              <a:buChar char="v"/>
            </a:pPr>
            <a:r>
              <a:rPr lang="en-GB" b="0" dirty="0"/>
              <a:t>VET sector reforms (new VET pilot scheme + 2019 Ministerial main topic)</a:t>
            </a:r>
          </a:p>
          <a:p>
            <a:pPr lvl="1">
              <a:buFont typeface="Wingdings" panose="05000000000000000000" pitchFamily="2" charset="2"/>
              <a:buChar char="v"/>
            </a:pPr>
            <a:r>
              <a:rPr lang="en-GB" b="0" dirty="0"/>
              <a:t>Governance of HEIs</a:t>
            </a:r>
          </a:p>
          <a:p>
            <a:pPr lvl="1">
              <a:buFont typeface="Wingdings" panose="05000000000000000000" pitchFamily="2" charset="2"/>
              <a:buChar char="v"/>
            </a:pPr>
            <a:r>
              <a:rPr lang="en-GB" b="0" dirty="0"/>
              <a:t>Internationalisation of HEIs </a:t>
            </a:r>
          </a:p>
          <a:p>
            <a:pPr lvl="1">
              <a:buFont typeface="Wingdings" panose="05000000000000000000" pitchFamily="2" charset="2"/>
              <a:buChar char="v"/>
            </a:pPr>
            <a:r>
              <a:rPr lang="en-GB" b="0" dirty="0"/>
              <a:t>Teacher Education</a:t>
            </a:r>
          </a:p>
          <a:p>
            <a:pPr lvl="1">
              <a:buFont typeface="Wingdings" panose="05000000000000000000" pitchFamily="2" charset="2"/>
              <a:buChar char="v"/>
            </a:pPr>
            <a:r>
              <a:rPr lang="en-GB" b="0" dirty="0"/>
              <a:t>University – world of work cooperation</a:t>
            </a:r>
          </a:p>
          <a:p>
            <a:endParaRPr lang="en-GB" dirty="0"/>
          </a:p>
        </p:txBody>
      </p:sp>
    </p:spTree>
    <p:extLst>
      <p:ext uri="{BB962C8B-B14F-4D97-AF65-F5344CB8AC3E}">
        <p14:creationId xmlns:p14="http://schemas.microsoft.com/office/powerpoint/2010/main" val="7243310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p:cNvSpPr txBox="1">
            <a:spLocks/>
          </p:cNvSpPr>
          <p:nvPr/>
        </p:nvSpPr>
        <p:spPr>
          <a:xfrm>
            <a:off x="490765" y="2672134"/>
            <a:ext cx="8229600" cy="936625"/>
          </a:xfrm>
          <a:prstGeom prst="rect">
            <a:avLst/>
          </a:prstGeom>
        </p:spPr>
        <p:txBody>
          <a:bodyPr/>
          <a:lstStyle>
            <a:lvl1pPr marL="358775" algn="l" rtl="0" eaLnBrk="1" fontAlgn="base" hangingPunct="1">
              <a:spcBef>
                <a:spcPct val="0"/>
              </a:spcBef>
              <a:spcAft>
                <a:spcPct val="0"/>
              </a:spcAft>
              <a:defRPr sz="3000" b="1">
                <a:solidFill>
                  <a:srgbClr val="0F5494"/>
                </a:solidFill>
                <a:latin typeface="+mj-lt"/>
                <a:ea typeface="+mj-ea"/>
                <a:cs typeface="+mj-cs"/>
              </a:defRPr>
            </a:lvl1pPr>
            <a:lvl2pPr marL="358775" algn="l" rtl="0" eaLnBrk="1" fontAlgn="base" hangingPunct="1">
              <a:spcBef>
                <a:spcPct val="0"/>
              </a:spcBef>
              <a:spcAft>
                <a:spcPct val="0"/>
              </a:spcAft>
              <a:defRPr sz="3000" b="1">
                <a:solidFill>
                  <a:srgbClr val="0F5494"/>
                </a:solidFill>
                <a:latin typeface="Verdana" pitchFamily="34" charset="0"/>
              </a:defRPr>
            </a:lvl2pPr>
            <a:lvl3pPr marL="358775" algn="l" rtl="0" eaLnBrk="1" fontAlgn="base" hangingPunct="1">
              <a:spcBef>
                <a:spcPct val="0"/>
              </a:spcBef>
              <a:spcAft>
                <a:spcPct val="0"/>
              </a:spcAft>
              <a:defRPr sz="3000" b="1">
                <a:solidFill>
                  <a:srgbClr val="0F5494"/>
                </a:solidFill>
                <a:latin typeface="Verdana" pitchFamily="34" charset="0"/>
              </a:defRPr>
            </a:lvl3pPr>
            <a:lvl4pPr marL="358775" algn="l" rtl="0" eaLnBrk="1" fontAlgn="base" hangingPunct="1">
              <a:spcBef>
                <a:spcPct val="0"/>
              </a:spcBef>
              <a:spcAft>
                <a:spcPct val="0"/>
              </a:spcAft>
              <a:defRPr sz="3000" b="1">
                <a:solidFill>
                  <a:srgbClr val="0F5494"/>
                </a:solidFill>
                <a:latin typeface="Verdana" pitchFamily="34" charset="0"/>
              </a:defRPr>
            </a:lvl4pPr>
            <a:lvl5pPr marL="358775" algn="l" rtl="0" eaLnBrk="1" fontAlgn="base" hangingPunct="1">
              <a:spcBef>
                <a:spcPct val="0"/>
              </a:spcBef>
              <a:spcAft>
                <a:spcPct val="0"/>
              </a:spcAft>
              <a:defRPr sz="3000" b="1">
                <a:solidFill>
                  <a:srgbClr val="0F5494"/>
                </a:solidFill>
                <a:latin typeface="Verdana" pitchFamily="34" charset="0"/>
              </a:defRPr>
            </a:lvl5pPr>
            <a:lvl6pPr marL="815975" algn="l" rtl="0" eaLnBrk="1" fontAlgn="base" hangingPunct="1">
              <a:spcBef>
                <a:spcPct val="0"/>
              </a:spcBef>
              <a:spcAft>
                <a:spcPct val="0"/>
              </a:spcAft>
              <a:defRPr sz="3000" b="1">
                <a:solidFill>
                  <a:srgbClr val="0F5494"/>
                </a:solidFill>
                <a:latin typeface="Verdana" pitchFamily="34" charset="0"/>
              </a:defRPr>
            </a:lvl6pPr>
            <a:lvl7pPr marL="1273175" algn="l" rtl="0" eaLnBrk="1" fontAlgn="base" hangingPunct="1">
              <a:spcBef>
                <a:spcPct val="0"/>
              </a:spcBef>
              <a:spcAft>
                <a:spcPct val="0"/>
              </a:spcAft>
              <a:defRPr sz="3000" b="1">
                <a:solidFill>
                  <a:srgbClr val="0F5494"/>
                </a:solidFill>
                <a:latin typeface="Verdana" pitchFamily="34" charset="0"/>
              </a:defRPr>
            </a:lvl7pPr>
            <a:lvl8pPr marL="1730375" algn="l" rtl="0" eaLnBrk="1" fontAlgn="base" hangingPunct="1">
              <a:spcBef>
                <a:spcPct val="0"/>
              </a:spcBef>
              <a:spcAft>
                <a:spcPct val="0"/>
              </a:spcAft>
              <a:defRPr sz="3000" b="1">
                <a:solidFill>
                  <a:srgbClr val="0F5494"/>
                </a:solidFill>
                <a:latin typeface="Verdana" pitchFamily="34" charset="0"/>
              </a:defRPr>
            </a:lvl8pPr>
            <a:lvl9pPr marL="2187575" algn="l" rtl="0" eaLnBrk="1" fontAlgn="base" hangingPunct="1">
              <a:spcBef>
                <a:spcPct val="0"/>
              </a:spcBef>
              <a:spcAft>
                <a:spcPct val="0"/>
              </a:spcAft>
              <a:defRPr sz="3000" b="1">
                <a:solidFill>
                  <a:srgbClr val="0F5494"/>
                </a:solidFill>
                <a:latin typeface="Verdana" pitchFamily="34" charset="0"/>
              </a:defRPr>
            </a:lvl9pPr>
          </a:lstStyle>
          <a:p>
            <a:pPr algn="ctr"/>
            <a:r>
              <a:rPr lang="nl-BE" kern="0" dirty="0"/>
              <a:t>Activity part A</a:t>
            </a:r>
            <a:endParaRPr lang="en-GB" kern="0" dirty="0"/>
          </a:p>
        </p:txBody>
      </p:sp>
      <p:grpSp>
        <p:nvGrpSpPr>
          <p:cNvPr id="3" name="POWER_USER_ID_ICONS_Atomic"/>
          <p:cNvGrpSpPr>
            <a:grpSpLocks noChangeAspect="1"/>
          </p:cNvGrpSpPr>
          <p:nvPr>
            <p:custDataLst>
              <p:tags r:id="rId1"/>
            </p:custDataLst>
          </p:nvPr>
        </p:nvGrpSpPr>
        <p:grpSpPr bwMode="auto">
          <a:xfrm>
            <a:off x="3806452" y="3422791"/>
            <a:ext cx="1872208" cy="2085296"/>
            <a:chOff x="62" y="39"/>
            <a:chExt cx="369" cy="411"/>
          </a:xfrm>
          <a:solidFill>
            <a:srgbClr val="0F5494"/>
          </a:solidFill>
        </p:grpSpPr>
        <p:sp>
          <p:nvSpPr>
            <p:cNvPr id="4" name="POWER_USER_ID_ICONS_Atomic"/>
            <p:cNvSpPr>
              <a:spLocks noEditPoints="1"/>
            </p:cNvSpPr>
            <p:nvPr>
              <p:custDataLst>
                <p:tags r:id="rId2"/>
              </p:custDataLst>
            </p:nvPr>
          </p:nvSpPr>
          <p:spPr bwMode="auto">
            <a:xfrm>
              <a:off x="175" y="39"/>
              <a:ext cx="142" cy="411"/>
            </a:xfrm>
            <a:custGeom>
              <a:avLst/>
              <a:gdLst>
                <a:gd name="T0" fmla="*/ 154 w 308"/>
                <a:gd name="T1" fmla="*/ 0 h 889"/>
                <a:gd name="T2" fmla="*/ 90 w 308"/>
                <a:gd name="T3" fmla="*/ 39 h 889"/>
                <a:gd name="T4" fmla="*/ 43 w 308"/>
                <a:gd name="T5" fmla="*/ 135 h 889"/>
                <a:gd name="T6" fmla="*/ 0 w 308"/>
                <a:gd name="T7" fmla="*/ 445 h 889"/>
                <a:gd name="T8" fmla="*/ 43 w 308"/>
                <a:gd name="T9" fmla="*/ 755 h 889"/>
                <a:gd name="T10" fmla="*/ 90 w 308"/>
                <a:gd name="T11" fmla="*/ 851 h 889"/>
                <a:gd name="T12" fmla="*/ 154 w 308"/>
                <a:gd name="T13" fmla="*/ 889 h 889"/>
                <a:gd name="T14" fmla="*/ 218 w 308"/>
                <a:gd name="T15" fmla="*/ 851 h 889"/>
                <a:gd name="T16" fmla="*/ 265 w 308"/>
                <a:gd name="T17" fmla="*/ 755 h 889"/>
                <a:gd name="T18" fmla="*/ 308 w 308"/>
                <a:gd name="T19" fmla="*/ 445 h 889"/>
                <a:gd name="T20" fmla="*/ 265 w 308"/>
                <a:gd name="T21" fmla="*/ 135 h 889"/>
                <a:gd name="T22" fmla="*/ 218 w 308"/>
                <a:gd name="T23" fmla="*/ 39 h 889"/>
                <a:gd name="T24" fmla="*/ 154 w 308"/>
                <a:gd name="T25" fmla="*/ 0 h 889"/>
                <a:gd name="T26" fmla="*/ 154 w 308"/>
                <a:gd name="T27" fmla="*/ 20 h 889"/>
                <a:gd name="T28" fmla="*/ 202 w 308"/>
                <a:gd name="T29" fmla="*/ 51 h 889"/>
                <a:gd name="T30" fmla="*/ 247 w 308"/>
                <a:gd name="T31" fmla="*/ 141 h 889"/>
                <a:gd name="T32" fmla="*/ 288 w 308"/>
                <a:gd name="T33" fmla="*/ 445 h 889"/>
                <a:gd name="T34" fmla="*/ 247 w 308"/>
                <a:gd name="T35" fmla="*/ 748 h 889"/>
                <a:gd name="T36" fmla="*/ 202 w 308"/>
                <a:gd name="T37" fmla="*/ 838 h 889"/>
                <a:gd name="T38" fmla="*/ 154 w 308"/>
                <a:gd name="T39" fmla="*/ 869 h 889"/>
                <a:gd name="T40" fmla="*/ 106 w 308"/>
                <a:gd name="T41" fmla="*/ 838 h 889"/>
                <a:gd name="T42" fmla="*/ 62 w 308"/>
                <a:gd name="T43" fmla="*/ 748 h 889"/>
                <a:gd name="T44" fmla="*/ 20 w 308"/>
                <a:gd name="T45" fmla="*/ 445 h 889"/>
                <a:gd name="T46" fmla="*/ 62 w 308"/>
                <a:gd name="T47" fmla="*/ 141 h 889"/>
                <a:gd name="T48" fmla="*/ 106 w 308"/>
                <a:gd name="T49" fmla="*/ 51 h 889"/>
                <a:gd name="T50" fmla="*/ 154 w 308"/>
                <a:gd name="T51" fmla="*/ 20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8" h="889">
                  <a:moveTo>
                    <a:pt x="154" y="0"/>
                  </a:moveTo>
                  <a:cubicBezTo>
                    <a:pt x="130" y="0"/>
                    <a:pt x="109" y="15"/>
                    <a:pt x="90" y="39"/>
                  </a:cubicBezTo>
                  <a:cubicBezTo>
                    <a:pt x="72" y="62"/>
                    <a:pt x="56" y="95"/>
                    <a:pt x="43" y="135"/>
                  </a:cubicBezTo>
                  <a:cubicBezTo>
                    <a:pt x="16" y="214"/>
                    <a:pt x="0" y="324"/>
                    <a:pt x="0" y="445"/>
                  </a:cubicBezTo>
                  <a:cubicBezTo>
                    <a:pt x="0" y="565"/>
                    <a:pt x="16" y="675"/>
                    <a:pt x="43" y="755"/>
                  </a:cubicBezTo>
                  <a:cubicBezTo>
                    <a:pt x="56" y="795"/>
                    <a:pt x="72" y="827"/>
                    <a:pt x="90" y="851"/>
                  </a:cubicBezTo>
                  <a:cubicBezTo>
                    <a:pt x="109" y="874"/>
                    <a:pt x="130" y="889"/>
                    <a:pt x="154" y="889"/>
                  </a:cubicBezTo>
                  <a:cubicBezTo>
                    <a:pt x="178" y="889"/>
                    <a:pt x="200" y="874"/>
                    <a:pt x="218" y="851"/>
                  </a:cubicBezTo>
                  <a:cubicBezTo>
                    <a:pt x="237" y="827"/>
                    <a:pt x="252" y="795"/>
                    <a:pt x="265" y="755"/>
                  </a:cubicBezTo>
                  <a:cubicBezTo>
                    <a:pt x="292" y="675"/>
                    <a:pt x="308" y="565"/>
                    <a:pt x="308" y="445"/>
                  </a:cubicBezTo>
                  <a:cubicBezTo>
                    <a:pt x="308" y="324"/>
                    <a:pt x="292" y="214"/>
                    <a:pt x="265" y="135"/>
                  </a:cubicBezTo>
                  <a:cubicBezTo>
                    <a:pt x="252" y="95"/>
                    <a:pt x="237" y="62"/>
                    <a:pt x="218" y="39"/>
                  </a:cubicBezTo>
                  <a:cubicBezTo>
                    <a:pt x="200" y="15"/>
                    <a:pt x="178" y="0"/>
                    <a:pt x="154" y="0"/>
                  </a:cubicBezTo>
                  <a:close/>
                  <a:moveTo>
                    <a:pt x="154" y="20"/>
                  </a:moveTo>
                  <a:cubicBezTo>
                    <a:pt x="170" y="20"/>
                    <a:pt x="186" y="30"/>
                    <a:pt x="202" y="51"/>
                  </a:cubicBezTo>
                  <a:cubicBezTo>
                    <a:pt x="218" y="71"/>
                    <a:pt x="234" y="102"/>
                    <a:pt x="247" y="141"/>
                  </a:cubicBezTo>
                  <a:cubicBezTo>
                    <a:pt x="272" y="218"/>
                    <a:pt x="288" y="326"/>
                    <a:pt x="288" y="445"/>
                  </a:cubicBezTo>
                  <a:cubicBezTo>
                    <a:pt x="288" y="563"/>
                    <a:pt x="272" y="671"/>
                    <a:pt x="247" y="748"/>
                  </a:cubicBezTo>
                  <a:cubicBezTo>
                    <a:pt x="234" y="787"/>
                    <a:pt x="218" y="818"/>
                    <a:pt x="202" y="838"/>
                  </a:cubicBezTo>
                  <a:cubicBezTo>
                    <a:pt x="186" y="859"/>
                    <a:pt x="170" y="869"/>
                    <a:pt x="154" y="869"/>
                  </a:cubicBezTo>
                  <a:cubicBezTo>
                    <a:pt x="138" y="869"/>
                    <a:pt x="122" y="859"/>
                    <a:pt x="106" y="838"/>
                  </a:cubicBezTo>
                  <a:cubicBezTo>
                    <a:pt x="90" y="818"/>
                    <a:pt x="75" y="787"/>
                    <a:pt x="62" y="748"/>
                  </a:cubicBezTo>
                  <a:cubicBezTo>
                    <a:pt x="36" y="671"/>
                    <a:pt x="20" y="563"/>
                    <a:pt x="20" y="445"/>
                  </a:cubicBezTo>
                  <a:cubicBezTo>
                    <a:pt x="20" y="326"/>
                    <a:pt x="36" y="218"/>
                    <a:pt x="62" y="141"/>
                  </a:cubicBezTo>
                  <a:cubicBezTo>
                    <a:pt x="75" y="102"/>
                    <a:pt x="90" y="71"/>
                    <a:pt x="106" y="51"/>
                  </a:cubicBezTo>
                  <a:cubicBezTo>
                    <a:pt x="122" y="30"/>
                    <a:pt x="138" y="20"/>
                    <a:pt x="154" y="2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normalizeH="0" baseline="0" noProof="0" dirty="0">
                <a:ln w="18000">
                  <a:solidFill>
                    <a:schemeClr val="accent2">
                      <a:satMod val="140000"/>
                    </a:schemeClr>
                  </a:solidFill>
                  <a:prstDash val="solid"/>
                  <a:miter lim="800000"/>
                </a:ln>
                <a:noFill/>
                <a:effectLst>
                  <a:outerShdw blurRad="25500" dist="23000" dir="7020000" algn="tl">
                    <a:srgbClr val="000000">
                      <a:alpha val="50000"/>
                    </a:srgbClr>
                  </a:outerShdw>
                </a:effectLst>
                <a:uLnTx/>
                <a:uFillTx/>
              </a:endParaRPr>
            </a:p>
          </p:txBody>
        </p:sp>
        <p:sp>
          <p:nvSpPr>
            <p:cNvPr id="5" name="POWER_USER_ID_ICONS_Atomic"/>
            <p:cNvSpPr>
              <a:spLocks noEditPoints="1"/>
            </p:cNvSpPr>
            <p:nvPr>
              <p:custDataLst>
                <p:tags r:id="rId3"/>
              </p:custDataLst>
            </p:nvPr>
          </p:nvSpPr>
          <p:spPr bwMode="auto">
            <a:xfrm>
              <a:off x="88" y="93"/>
              <a:ext cx="317" cy="303"/>
            </a:xfrm>
            <a:custGeom>
              <a:avLst/>
              <a:gdLst>
                <a:gd name="T0" fmla="*/ 667 w 688"/>
                <a:gd name="T1" fmla="*/ 23 h 655"/>
                <a:gd name="T2" fmla="*/ 596 w 688"/>
                <a:gd name="T3" fmla="*/ 3 h 655"/>
                <a:gd name="T4" fmla="*/ 494 w 688"/>
                <a:gd name="T5" fmla="*/ 34 h 655"/>
                <a:gd name="T6" fmla="*/ 239 w 688"/>
                <a:gd name="T7" fmla="*/ 216 h 655"/>
                <a:gd name="T8" fmla="*/ 42 w 688"/>
                <a:gd name="T9" fmla="*/ 459 h 655"/>
                <a:gd name="T10" fmla="*/ 5 w 688"/>
                <a:gd name="T11" fmla="*/ 560 h 655"/>
                <a:gd name="T12" fmla="*/ 21 w 688"/>
                <a:gd name="T13" fmla="*/ 632 h 655"/>
                <a:gd name="T14" fmla="*/ 93 w 688"/>
                <a:gd name="T15" fmla="*/ 653 h 655"/>
                <a:gd name="T16" fmla="*/ 195 w 688"/>
                <a:gd name="T17" fmla="*/ 621 h 655"/>
                <a:gd name="T18" fmla="*/ 450 w 688"/>
                <a:gd name="T19" fmla="*/ 440 h 655"/>
                <a:gd name="T20" fmla="*/ 646 w 688"/>
                <a:gd name="T21" fmla="*/ 196 h 655"/>
                <a:gd name="T22" fmla="*/ 684 w 688"/>
                <a:gd name="T23" fmla="*/ 96 h 655"/>
                <a:gd name="T24" fmla="*/ 667 w 688"/>
                <a:gd name="T25" fmla="*/ 23 h 655"/>
                <a:gd name="T26" fmla="*/ 653 w 688"/>
                <a:gd name="T27" fmla="*/ 37 h 655"/>
                <a:gd name="T28" fmla="*/ 664 w 688"/>
                <a:gd name="T29" fmla="*/ 92 h 655"/>
                <a:gd name="T30" fmla="*/ 629 w 688"/>
                <a:gd name="T31" fmla="*/ 186 h 655"/>
                <a:gd name="T32" fmla="*/ 436 w 688"/>
                <a:gd name="T33" fmla="*/ 425 h 655"/>
                <a:gd name="T34" fmla="*/ 187 w 688"/>
                <a:gd name="T35" fmla="*/ 603 h 655"/>
                <a:gd name="T36" fmla="*/ 91 w 688"/>
                <a:gd name="T37" fmla="*/ 633 h 655"/>
                <a:gd name="T38" fmla="*/ 36 w 688"/>
                <a:gd name="T39" fmla="*/ 618 h 655"/>
                <a:gd name="T40" fmla="*/ 25 w 688"/>
                <a:gd name="T41" fmla="*/ 562 h 655"/>
                <a:gd name="T42" fmla="*/ 60 w 688"/>
                <a:gd name="T43" fmla="*/ 469 h 655"/>
                <a:gd name="T44" fmla="*/ 253 w 688"/>
                <a:gd name="T45" fmla="*/ 230 h 655"/>
                <a:gd name="T46" fmla="*/ 502 w 688"/>
                <a:gd name="T47" fmla="*/ 52 h 655"/>
                <a:gd name="T48" fmla="*/ 598 w 688"/>
                <a:gd name="T49" fmla="*/ 22 h 655"/>
                <a:gd name="T50" fmla="*/ 653 w 688"/>
                <a:gd name="T51" fmla="*/ 37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8" h="655">
                  <a:moveTo>
                    <a:pt x="667" y="23"/>
                  </a:moveTo>
                  <a:cubicBezTo>
                    <a:pt x="651" y="6"/>
                    <a:pt x="626" y="0"/>
                    <a:pt x="596" y="3"/>
                  </a:cubicBezTo>
                  <a:cubicBezTo>
                    <a:pt x="566" y="5"/>
                    <a:pt x="532" y="16"/>
                    <a:pt x="494" y="34"/>
                  </a:cubicBezTo>
                  <a:cubicBezTo>
                    <a:pt x="417" y="69"/>
                    <a:pt x="327" y="133"/>
                    <a:pt x="239" y="216"/>
                  </a:cubicBezTo>
                  <a:cubicBezTo>
                    <a:pt x="151" y="298"/>
                    <a:pt x="82" y="385"/>
                    <a:pt x="42" y="459"/>
                  </a:cubicBezTo>
                  <a:cubicBezTo>
                    <a:pt x="22" y="496"/>
                    <a:pt x="9" y="530"/>
                    <a:pt x="5" y="560"/>
                  </a:cubicBezTo>
                  <a:cubicBezTo>
                    <a:pt x="0" y="589"/>
                    <a:pt x="5" y="615"/>
                    <a:pt x="21" y="632"/>
                  </a:cubicBezTo>
                  <a:cubicBezTo>
                    <a:pt x="38" y="649"/>
                    <a:pt x="63" y="655"/>
                    <a:pt x="93" y="653"/>
                  </a:cubicBezTo>
                  <a:cubicBezTo>
                    <a:pt x="122" y="650"/>
                    <a:pt x="157" y="639"/>
                    <a:pt x="195" y="621"/>
                  </a:cubicBezTo>
                  <a:cubicBezTo>
                    <a:pt x="271" y="586"/>
                    <a:pt x="362" y="522"/>
                    <a:pt x="450" y="440"/>
                  </a:cubicBezTo>
                  <a:cubicBezTo>
                    <a:pt x="538" y="357"/>
                    <a:pt x="606" y="270"/>
                    <a:pt x="646" y="196"/>
                  </a:cubicBezTo>
                  <a:cubicBezTo>
                    <a:pt x="666" y="159"/>
                    <a:pt x="679" y="125"/>
                    <a:pt x="684" y="96"/>
                  </a:cubicBezTo>
                  <a:cubicBezTo>
                    <a:pt x="688" y="66"/>
                    <a:pt x="684" y="40"/>
                    <a:pt x="667" y="23"/>
                  </a:cubicBezTo>
                  <a:close/>
                  <a:moveTo>
                    <a:pt x="653" y="37"/>
                  </a:moveTo>
                  <a:cubicBezTo>
                    <a:pt x="664" y="48"/>
                    <a:pt x="668" y="67"/>
                    <a:pt x="664" y="92"/>
                  </a:cubicBezTo>
                  <a:cubicBezTo>
                    <a:pt x="660" y="118"/>
                    <a:pt x="648" y="151"/>
                    <a:pt x="629" y="186"/>
                  </a:cubicBezTo>
                  <a:cubicBezTo>
                    <a:pt x="590" y="258"/>
                    <a:pt x="523" y="343"/>
                    <a:pt x="436" y="425"/>
                  </a:cubicBezTo>
                  <a:cubicBezTo>
                    <a:pt x="350" y="507"/>
                    <a:pt x="260" y="569"/>
                    <a:pt x="187" y="603"/>
                  </a:cubicBezTo>
                  <a:cubicBezTo>
                    <a:pt x="150" y="620"/>
                    <a:pt x="117" y="630"/>
                    <a:pt x="91" y="633"/>
                  </a:cubicBezTo>
                  <a:cubicBezTo>
                    <a:pt x="65" y="635"/>
                    <a:pt x="46" y="630"/>
                    <a:pt x="36" y="618"/>
                  </a:cubicBezTo>
                  <a:cubicBezTo>
                    <a:pt x="25" y="607"/>
                    <a:pt x="21" y="588"/>
                    <a:pt x="25" y="562"/>
                  </a:cubicBezTo>
                  <a:cubicBezTo>
                    <a:pt x="29" y="537"/>
                    <a:pt x="41" y="504"/>
                    <a:pt x="60" y="469"/>
                  </a:cubicBezTo>
                  <a:cubicBezTo>
                    <a:pt x="99" y="397"/>
                    <a:pt x="166" y="312"/>
                    <a:pt x="253" y="230"/>
                  </a:cubicBezTo>
                  <a:cubicBezTo>
                    <a:pt x="339" y="149"/>
                    <a:pt x="428" y="86"/>
                    <a:pt x="502" y="52"/>
                  </a:cubicBezTo>
                  <a:cubicBezTo>
                    <a:pt x="539" y="35"/>
                    <a:pt x="572" y="25"/>
                    <a:pt x="598" y="22"/>
                  </a:cubicBezTo>
                  <a:cubicBezTo>
                    <a:pt x="624" y="20"/>
                    <a:pt x="642" y="25"/>
                    <a:pt x="653" y="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normalizeH="0" baseline="0" noProof="0" dirty="0">
                <a:ln w="18000">
                  <a:solidFill>
                    <a:schemeClr val="accent2">
                      <a:satMod val="140000"/>
                    </a:schemeClr>
                  </a:solidFill>
                  <a:prstDash val="solid"/>
                  <a:miter lim="800000"/>
                </a:ln>
                <a:noFill/>
                <a:effectLst>
                  <a:outerShdw blurRad="25500" dist="23000" dir="7020000" algn="tl">
                    <a:srgbClr val="000000">
                      <a:alpha val="50000"/>
                    </a:srgbClr>
                  </a:outerShdw>
                </a:effectLst>
                <a:uLnTx/>
                <a:uFillTx/>
              </a:endParaRPr>
            </a:p>
          </p:txBody>
        </p:sp>
        <p:sp>
          <p:nvSpPr>
            <p:cNvPr id="6" name="POWER_USER_ID_ICONS_Atomic"/>
            <p:cNvSpPr>
              <a:spLocks noEditPoints="1"/>
            </p:cNvSpPr>
            <p:nvPr>
              <p:custDataLst>
                <p:tags r:id="rId4"/>
              </p:custDataLst>
            </p:nvPr>
          </p:nvSpPr>
          <p:spPr bwMode="auto">
            <a:xfrm>
              <a:off x="62" y="125"/>
              <a:ext cx="369" cy="239"/>
            </a:xfrm>
            <a:custGeom>
              <a:avLst/>
              <a:gdLst>
                <a:gd name="T0" fmla="*/ 787 w 799"/>
                <a:gd name="T1" fmla="*/ 475 h 517"/>
                <a:gd name="T2" fmla="*/ 785 w 799"/>
                <a:gd name="T3" fmla="*/ 401 h 517"/>
                <a:gd name="T4" fmla="*/ 724 w 799"/>
                <a:gd name="T5" fmla="*/ 312 h 517"/>
                <a:gd name="T6" fmla="*/ 474 w 799"/>
                <a:gd name="T7" fmla="*/ 124 h 517"/>
                <a:gd name="T8" fmla="*/ 183 w 799"/>
                <a:gd name="T9" fmla="*/ 10 h 517"/>
                <a:gd name="T10" fmla="*/ 76 w 799"/>
                <a:gd name="T11" fmla="*/ 5 h 517"/>
                <a:gd name="T12" fmla="*/ 12 w 799"/>
                <a:gd name="T13" fmla="*/ 42 h 517"/>
                <a:gd name="T14" fmla="*/ 13 w 799"/>
                <a:gd name="T15" fmla="*/ 117 h 517"/>
                <a:gd name="T16" fmla="*/ 74 w 799"/>
                <a:gd name="T17" fmla="*/ 205 h 517"/>
                <a:gd name="T18" fmla="*/ 324 w 799"/>
                <a:gd name="T19" fmla="*/ 393 h 517"/>
                <a:gd name="T20" fmla="*/ 616 w 799"/>
                <a:gd name="T21" fmla="*/ 507 h 517"/>
                <a:gd name="T22" fmla="*/ 723 w 799"/>
                <a:gd name="T23" fmla="*/ 512 h 517"/>
                <a:gd name="T24" fmla="*/ 787 w 799"/>
                <a:gd name="T25" fmla="*/ 475 h 517"/>
                <a:gd name="T26" fmla="*/ 770 w 799"/>
                <a:gd name="T27" fmla="*/ 465 h 517"/>
                <a:gd name="T28" fmla="*/ 720 w 799"/>
                <a:gd name="T29" fmla="*/ 492 h 517"/>
                <a:gd name="T30" fmla="*/ 620 w 799"/>
                <a:gd name="T31" fmla="*/ 487 h 517"/>
                <a:gd name="T32" fmla="*/ 334 w 799"/>
                <a:gd name="T33" fmla="*/ 376 h 517"/>
                <a:gd name="T34" fmla="*/ 89 w 799"/>
                <a:gd name="T35" fmla="*/ 191 h 517"/>
                <a:gd name="T36" fmla="*/ 32 w 799"/>
                <a:gd name="T37" fmla="*/ 109 h 517"/>
                <a:gd name="T38" fmla="*/ 29 w 799"/>
                <a:gd name="T39" fmla="*/ 52 h 517"/>
                <a:gd name="T40" fmla="*/ 79 w 799"/>
                <a:gd name="T41" fmla="*/ 25 h 517"/>
                <a:gd name="T42" fmla="*/ 179 w 799"/>
                <a:gd name="T43" fmla="*/ 30 h 517"/>
                <a:gd name="T44" fmla="*/ 465 w 799"/>
                <a:gd name="T45" fmla="*/ 142 h 517"/>
                <a:gd name="T46" fmla="*/ 710 w 799"/>
                <a:gd name="T47" fmla="*/ 326 h 517"/>
                <a:gd name="T48" fmla="*/ 767 w 799"/>
                <a:gd name="T49" fmla="*/ 408 h 517"/>
                <a:gd name="T50" fmla="*/ 770 w 799"/>
                <a:gd name="T51" fmla="*/ 465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9" h="517">
                  <a:moveTo>
                    <a:pt x="787" y="475"/>
                  </a:moveTo>
                  <a:cubicBezTo>
                    <a:pt x="799" y="454"/>
                    <a:pt x="796" y="428"/>
                    <a:pt x="785" y="401"/>
                  </a:cubicBezTo>
                  <a:cubicBezTo>
                    <a:pt x="774" y="373"/>
                    <a:pt x="753" y="343"/>
                    <a:pt x="724" y="312"/>
                  </a:cubicBezTo>
                  <a:cubicBezTo>
                    <a:pt x="667" y="250"/>
                    <a:pt x="580" y="183"/>
                    <a:pt x="474" y="124"/>
                  </a:cubicBezTo>
                  <a:cubicBezTo>
                    <a:pt x="369" y="65"/>
                    <a:pt x="265" y="26"/>
                    <a:pt x="183" y="10"/>
                  </a:cubicBezTo>
                  <a:cubicBezTo>
                    <a:pt x="141" y="2"/>
                    <a:pt x="105" y="0"/>
                    <a:pt x="76" y="5"/>
                  </a:cubicBezTo>
                  <a:cubicBezTo>
                    <a:pt x="46" y="10"/>
                    <a:pt x="23" y="21"/>
                    <a:pt x="12" y="42"/>
                  </a:cubicBezTo>
                  <a:cubicBezTo>
                    <a:pt x="0" y="63"/>
                    <a:pt x="2" y="89"/>
                    <a:pt x="13" y="117"/>
                  </a:cubicBezTo>
                  <a:cubicBezTo>
                    <a:pt x="25" y="144"/>
                    <a:pt x="46" y="174"/>
                    <a:pt x="74" y="205"/>
                  </a:cubicBezTo>
                  <a:cubicBezTo>
                    <a:pt x="131" y="267"/>
                    <a:pt x="219" y="334"/>
                    <a:pt x="324" y="393"/>
                  </a:cubicBezTo>
                  <a:cubicBezTo>
                    <a:pt x="430" y="452"/>
                    <a:pt x="533" y="491"/>
                    <a:pt x="616" y="507"/>
                  </a:cubicBezTo>
                  <a:cubicBezTo>
                    <a:pt x="657" y="515"/>
                    <a:pt x="693" y="517"/>
                    <a:pt x="723" y="512"/>
                  </a:cubicBezTo>
                  <a:cubicBezTo>
                    <a:pt x="752" y="508"/>
                    <a:pt x="776" y="496"/>
                    <a:pt x="787" y="475"/>
                  </a:cubicBezTo>
                  <a:close/>
                  <a:moveTo>
                    <a:pt x="770" y="465"/>
                  </a:moveTo>
                  <a:cubicBezTo>
                    <a:pt x="762" y="479"/>
                    <a:pt x="746" y="488"/>
                    <a:pt x="720" y="492"/>
                  </a:cubicBezTo>
                  <a:cubicBezTo>
                    <a:pt x="694" y="496"/>
                    <a:pt x="660" y="495"/>
                    <a:pt x="620" y="487"/>
                  </a:cubicBezTo>
                  <a:cubicBezTo>
                    <a:pt x="540" y="472"/>
                    <a:pt x="438" y="434"/>
                    <a:pt x="334" y="376"/>
                  </a:cubicBezTo>
                  <a:cubicBezTo>
                    <a:pt x="230" y="318"/>
                    <a:pt x="144" y="251"/>
                    <a:pt x="89" y="191"/>
                  </a:cubicBezTo>
                  <a:cubicBezTo>
                    <a:pt x="62" y="162"/>
                    <a:pt x="42" y="133"/>
                    <a:pt x="32" y="109"/>
                  </a:cubicBezTo>
                  <a:cubicBezTo>
                    <a:pt x="22" y="85"/>
                    <a:pt x="21" y="66"/>
                    <a:pt x="29" y="52"/>
                  </a:cubicBezTo>
                  <a:cubicBezTo>
                    <a:pt x="37" y="38"/>
                    <a:pt x="53" y="29"/>
                    <a:pt x="79" y="25"/>
                  </a:cubicBezTo>
                  <a:cubicBezTo>
                    <a:pt x="105" y="21"/>
                    <a:pt x="139" y="23"/>
                    <a:pt x="179" y="30"/>
                  </a:cubicBezTo>
                  <a:cubicBezTo>
                    <a:pt x="259" y="45"/>
                    <a:pt x="361" y="84"/>
                    <a:pt x="465" y="142"/>
                  </a:cubicBezTo>
                  <a:cubicBezTo>
                    <a:pt x="568" y="200"/>
                    <a:pt x="655" y="266"/>
                    <a:pt x="710" y="326"/>
                  </a:cubicBezTo>
                  <a:cubicBezTo>
                    <a:pt x="737" y="356"/>
                    <a:pt x="757" y="384"/>
                    <a:pt x="767" y="408"/>
                  </a:cubicBezTo>
                  <a:cubicBezTo>
                    <a:pt x="777" y="432"/>
                    <a:pt x="777" y="451"/>
                    <a:pt x="770" y="46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normalizeH="0" baseline="0" noProof="0" dirty="0">
                <a:ln w="18000">
                  <a:solidFill>
                    <a:schemeClr val="accent2">
                      <a:satMod val="140000"/>
                    </a:schemeClr>
                  </a:solidFill>
                  <a:prstDash val="solid"/>
                  <a:miter lim="800000"/>
                </a:ln>
                <a:noFill/>
                <a:effectLst>
                  <a:outerShdw blurRad="25500" dist="23000" dir="7020000" algn="tl">
                    <a:srgbClr val="000000">
                      <a:alpha val="50000"/>
                    </a:srgbClr>
                  </a:outerShdw>
                </a:effectLst>
                <a:uLnTx/>
                <a:uFillTx/>
              </a:endParaRPr>
            </a:p>
          </p:txBody>
        </p:sp>
        <p:sp>
          <p:nvSpPr>
            <p:cNvPr id="7" name="POWER_USER_ID_ICONS_Atomic"/>
            <p:cNvSpPr>
              <a:spLocks noChangeArrowheads="1"/>
            </p:cNvSpPr>
            <p:nvPr>
              <p:custDataLst>
                <p:tags r:id="rId5"/>
              </p:custDataLst>
            </p:nvPr>
          </p:nvSpPr>
          <p:spPr bwMode="auto">
            <a:xfrm>
              <a:off x="70" y="180"/>
              <a:ext cx="37" cy="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normalizeH="0" baseline="0" noProof="0" dirty="0">
                <a:ln w="18000">
                  <a:solidFill>
                    <a:schemeClr val="accent2">
                      <a:satMod val="140000"/>
                    </a:schemeClr>
                  </a:solidFill>
                  <a:prstDash val="solid"/>
                  <a:miter lim="800000"/>
                </a:ln>
                <a:noFill/>
                <a:effectLst>
                  <a:outerShdw blurRad="25500" dist="23000" dir="7020000" algn="tl">
                    <a:srgbClr val="000000">
                      <a:alpha val="50000"/>
                    </a:srgbClr>
                  </a:outerShdw>
                </a:effectLst>
                <a:uLnTx/>
                <a:uFillTx/>
              </a:endParaRPr>
            </a:p>
          </p:txBody>
        </p:sp>
        <p:sp>
          <p:nvSpPr>
            <p:cNvPr id="8" name="POWER_USER_ID_ICONS_Atomic"/>
            <p:cNvSpPr>
              <a:spLocks noChangeArrowheads="1"/>
            </p:cNvSpPr>
            <p:nvPr>
              <p:custDataLst>
                <p:tags r:id="rId6"/>
              </p:custDataLst>
            </p:nvPr>
          </p:nvSpPr>
          <p:spPr bwMode="auto">
            <a:xfrm>
              <a:off x="351" y="183"/>
              <a:ext cx="37" cy="3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normalizeH="0" baseline="0" noProof="0" dirty="0">
                <a:ln w="18000">
                  <a:solidFill>
                    <a:schemeClr val="accent2">
                      <a:satMod val="140000"/>
                    </a:schemeClr>
                  </a:solidFill>
                  <a:prstDash val="solid"/>
                  <a:miter lim="800000"/>
                </a:ln>
                <a:noFill/>
                <a:effectLst>
                  <a:outerShdw blurRad="25500" dist="23000" dir="7020000" algn="tl">
                    <a:srgbClr val="000000">
                      <a:alpha val="50000"/>
                    </a:srgbClr>
                  </a:outerShdw>
                </a:effectLst>
                <a:uLnTx/>
                <a:uFillTx/>
              </a:endParaRPr>
            </a:p>
          </p:txBody>
        </p:sp>
        <p:sp>
          <p:nvSpPr>
            <p:cNvPr id="9" name="POWER_USER_ID_ICONS_Atomic"/>
            <p:cNvSpPr>
              <a:spLocks noChangeArrowheads="1"/>
            </p:cNvSpPr>
            <p:nvPr>
              <p:custDataLst>
                <p:tags r:id="rId7"/>
              </p:custDataLst>
            </p:nvPr>
          </p:nvSpPr>
          <p:spPr bwMode="auto">
            <a:xfrm>
              <a:off x="278" y="362"/>
              <a:ext cx="38" cy="3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normalizeH="0" baseline="0" noProof="0" dirty="0">
                <a:ln w="18000">
                  <a:solidFill>
                    <a:schemeClr val="accent2">
                      <a:satMod val="140000"/>
                    </a:schemeClr>
                  </a:solidFill>
                  <a:prstDash val="solid"/>
                  <a:miter lim="800000"/>
                </a:ln>
                <a:noFill/>
                <a:effectLst>
                  <a:outerShdw blurRad="25500" dist="23000" dir="7020000" algn="tl">
                    <a:srgbClr val="000000">
                      <a:alpha val="50000"/>
                    </a:srgbClr>
                  </a:outerShdw>
                </a:effectLst>
                <a:uLnTx/>
                <a:uFillTx/>
              </a:endParaRPr>
            </a:p>
          </p:txBody>
        </p:sp>
        <p:sp>
          <p:nvSpPr>
            <p:cNvPr id="11" name="POWER_USER_ID_ICONS_Atomic"/>
            <p:cNvSpPr>
              <a:spLocks/>
            </p:cNvSpPr>
            <p:nvPr>
              <p:custDataLst>
                <p:tags r:id="rId8"/>
              </p:custDataLst>
            </p:nvPr>
          </p:nvSpPr>
          <p:spPr bwMode="auto">
            <a:xfrm>
              <a:off x="209" y="212"/>
              <a:ext cx="42" cy="37"/>
            </a:xfrm>
            <a:custGeom>
              <a:avLst/>
              <a:gdLst>
                <a:gd name="T0" fmla="*/ 48 w 91"/>
                <a:gd name="T1" fmla="*/ 0 h 81"/>
                <a:gd name="T2" fmla="*/ 0 w 91"/>
                <a:gd name="T3" fmla="*/ 50 h 81"/>
                <a:gd name="T4" fmla="*/ 11 w 91"/>
                <a:gd name="T5" fmla="*/ 81 h 81"/>
                <a:gd name="T6" fmla="*/ 59 w 91"/>
                <a:gd name="T7" fmla="*/ 59 h 81"/>
                <a:gd name="T8" fmla="*/ 60 w 91"/>
                <a:gd name="T9" fmla="*/ 59 h 81"/>
                <a:gd name="T10" fmla="*/ 91 w 91"/>
                <a:gd name="T11" fmla="*/ 28 h 81"/>
                <a:gd name="T12" fmla="*/ 48 w 91"/>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91" h="81">
                  <a:moveTo>
                    <a:pt x="48" y="0"/>
                  </a:moveTo>
                  <a:cubicBezTo>
                    <a:pt x="22" y="0"/>
                    <a:pt x="0" y="23"/>
                    <a:pt x="0" y="50"/>
                  </a:cubicBezTo>
                  <a:cubicBezTo>
                    <a:pt x="0" y="62"/>
                    <a:pt x="4" y="73"/>
                    <a:pt x="11" y="81"/>
                  </a:cubicBezTo>
                  <a:cubicBezTo>
                    <a:pt x="23" y="68"/>
                    <a:pt x="40" y="59"/>
                    <a:pt x="59" y="59"/>
                  </a:cubicBezTo>
                  <a:cubicBezTo>
                    <a:pt x="59" y="59"/>
                    <a:pt x="60" y="59"/>
                    <a:pt x="60" y="59"/>
                  </a:cubicBezTo>
                  <a:cubicBezTo>
                    <a:pt x="67" y="45"/>
                    <a:pt x="78" y="34"/>
                    <a:pt x="91" y="28"/>
                  </a:cubicBezTo>
                  <a:cubicBezTo>
                    <a:pt x="83" y="12"/>
                    <a:pt x="67" y="0"/>
                    <a:pt x="4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normalizeH="0" baseline="0" noProof="0" dirty="0">
                <a:ln w="18000">
                  <a:solidFill>
                    <a:schemeClr val="accent2">
                      <a:satMod val="140000"/>
                    </a:schemeClr>
                  </a:solidFill>
                  <a:prstDash val="solid"/>
                  <a:miter lim="800000"/>
                </a:ln>
                <a:noFill/>
                <a:effectLst>
                  <a:outerShdw blurRad="25500" dist="23000" dir="7020000" algn="tl">
                    <a:srgbClr val="000000">
                      <a:alpha val="50000"/>
                    </a:srgbClr>
                  </a:outerShdw>
                </a:effectLst>
                <a:uLnTx/>
                <a:uFillTx/>
              </a:endParaRPr>
            </a:p>
          </p:txBody>
        </p:sp>
        <p:sp>
          <p:nvSpPr>
            <p:cNvPr id="12" name="POWER_USER_ID_ICONS_Atomic"/>
            <p:cNvSpPr>
              <a:spLocks/>
            </p:cNvSpPr>
            <p:nvPr>
              <p:custDataLst>
                <p:tags r:id="rId9"/>
              </p:custDataLst>
            </p:nvPr>
          </p:nvSpPr>
          <p:spPr bwMode="auto">
            <a:xfrm>
              <a:off x="212" y="244"/>
              <a:ext cx="40" cy="46"/>
            </a:xfrm>
            <a:custGeom>
              <a:avLst/>
              <a:gdLst>
                <a:gd name="T0" fmla="*/ 49 w 87"/>
                <a:gd name="T1" fmla="*/ 0 h 100"/>
                <a:gd name="T2" fmla="*/ 0 w 87"/>
                <a:gd name="T3" fmla="*/ 50 h 100"/>
                <a:gd name="T4" fmla="*/ 49 w 87"/>
                <a:gd name="T5" fmla="*/ 100 h 100"/>
                <a:gd name="T6" fmla="*/ 87 w 87"/>
                <a:gd name="T7" fmla="*/ 81 h 100"/>
                <a:gd name="T8" fmla="*/ 51 w 87"/>
                <a:gd name="T9" fmla="*/ 20 h 100"/>
                <a:gd name="T10" fmla="*/ 54 w 87"/>
                <a:gd name="T11" fmla="*/ 0 h 100"/>
                <a:gd name="T12" fmla="*/ 49 w 87"/>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7" h="100">
                  <a:moveTo>
                    <a:pt x="49" y="0"/>
                  </a:moveTo>
                  <a:cubicBezTo>
                    <a:pt x="22" y="0"/>
                    <a:pt x="0" y="23"/>
                    <a:pt x="0" y="50"/>
                  </a:cubicBezTo>
                  <a:cubicBezTo>
                    <a:pt x="0" y="78"/>
                    <a:pt x="22" y="100"/>
                    <a:pt x="49" y="100"/>
                  </a:cubicBezTo>
                  <a:cubicBezTo>
                    <a:pt x="64" y="100"/>
                    <a:pt x="78" y="93"/>
                    <a:pt x="87" y="81"/>
                  </a:cubicBezTo>
                  <a:cubicBezTo>
                    <a:pt x="66" y="69"/>
                    <a:pt x="51" y="46"/>
                    <a:pt x="51" y="20"/>
                  </a:cubicBezTo>
                  <a:cubicBezTo>
                    <a:pt x="51" y="13"/>
                    <a:pt x="52" y="7"/>
                    <a:pt x="54" y="0"/>
                  </a:cubicBezTo>
                  <a:cubicBezTo>
                    <a:pt x="52" y="0"/>
                    <a:pt x="51" y="0"/>
                    <a:pt x="49"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normalizeH="0" baseline="0" noProof="0" dirty="0">
                <a:ln w="18000">
                  <a:solidFill>
                    <a:schemeClr val="accent2">
                      <a:satMod val="140000"/>
                    </a:schemeClr>
                  </a:solidFill>
                  <a:prstDash val="solid"/>
                  <a:miter lim="800000"/>
                </a:ln>
                <a:noFill/>
                <a:effectLst>
                  <a:outerShdw blurRad="25500" dist="23000" dir="7020000" algn="tl">
                    <a:srgbClr val="000000">
                      <a:alpha val="50000"/>
                    </a:srgbClr>
                  </a:outerShdw>
                </a:effectLst>
                <a:uLnTx/>
                <a:uFillTx/>
              </a:endParaRPr>
            </a:p>
          </p:txBody>
        </p:sp>
        <p:sp>
          <p:nvSpPr>
            <p:cNvPr id="13" name="POWER_USER_ID_ICONS_Atomic"/>
            <p:cNvSpPr>
              <a:spLocks/>
            </p:cNvSpPr>
            <p:nvPr>
              <p:custDataLst>
                <p:tags r:id="rId10"/>
              </p:custDataLst>
            </p:nvPr>
          </p:nvSpPr>
          <p:spPr bwMode="auto">
            <a:xfrm>
              <a:off x="239" y="216"/>
              <a:ext cx="52" cy="63"/>
            </a:xfrm>
            <a:custGeom>
              <a:avLst/>
              <a:gdLst>
                <a:gd name="T0" fmla="*/ 112 w 112"/>
                <a:gd name="T1" fmla="*/ 77 h 135"/>
                <a:gd name="T2" fmla="*/ 56 w 112"/>
                <a:gd name="T3" fmla="*/ 135 h 135"/>
                <a:gd name="T4" fmla="*/ 0 w 112"/>
                <a:gd name="T5" fmla="*/ 77 h 135"/>
                <a:gd name="T6" fmla="*/ 112 w 112"/>
                <a:gd name="T7" fmla="*/ 77 h 135"/>
              </a:gdLst>
              <a:ahLst/>
              <a:cxnLst>
                <a:cxn ang="0">
                  <a:pos x="T0" y="T1"/>
                </a:cxn>
                <a:cxn ang="0">
                  <a:pos x="T2" y="T3"/>
                </a:cxn>
                <a:cxn ang="0">
                  <a:pos x="T4" y="T5"/>
                </a:cxn>
                <a:cxn ang="0">
                  <a:pos x="T6" y="T7"/>
                </a:cxn>
              </a:cxnLst>
              <a:rect l="0" t="0" r="r" b="b"/>
              <a:pathLst>
                <a:path w="112" h="135">
                  <a:moveTo>
                    <a:pt x="112" y="77"/>
                  </a:moveTo>
                  <a:cubicBezTo>
                    <a:pt x="112" y="109"/>
                    <a:pt x="87" y="135"/>
                    <a:pt x="56" y="135"/>
                  </a:cubicBezTo>
                  <a:cubicBezTo>
                    <a:pt x="25" y="135"/>
                    <a:pt x="0" y="109"/>
                    <a:pt x="0" y="77"/>
                  </a:cubicBezTo>
                  <a:cubicBezTo>
                    <a:pt x="0" y="0"/>
                    <a:pt x="112" y="0"/>
                    <a:pt x="112" y="7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1" i="0" u="none" strike="noStrike" kern="0" normalizeH="0" baseline="0" noProof="0" dirty="0">
                <a:ln w="18000">
                  <a:solidFill>
                    <a:schemeClr val="accent2">
                      <a:satMod val="140000"/>
                    </a:schemeClr>
                  </a:solidFill>
                  <a:prstDash val="solid"/>
                  <a:miter lim="800000"/>
                </a:ln>
                <a:noFill/>
                <a:effectLst>
                  <a:outerShdw blurRad="25500" dist="23000" dir="7020000" algn="tl">
                    <a:srgbClr val="000000">
                      <a:alpha val="50000"/>
                    </a:srgbClr>
                  </a:outerShdw>
                </a:effectLst>
                <a:uLnTx/>
                <a:uFillTx/>
              </a:endParaRPr>
            </a:p>
          </p:txBody>
        </p:sp>
      </p:grpSp>
    </p:spTree>
    <p:extLst>
      <p:ext uri="{BB962C8B-B14F-4D97-AF65-F5344CB8AC3E}">
        <p14:creationId xmlns:p14="http://schemas.microsoft.com/office/powerpoint/2010/main" val="285326226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3200" dirty="0"/>
              <a:t>Grouping of 2018 projects by project profiles/topics/themes</a:t>
            </a:r>
            <a:endParaRPr lang="en-GB" dirty="0"/>
          </a:p>
        </p:txBody>
      </p:sp>
      <p:sp>
        <p:nvSpPr>
          <p:cNvPr id="4" name="Slide Number Placeholder 3"/>
          <p:cNvSpPr>
            <a:spLocks noGrp="1"/>
          </p:cNvSpPr>
          <p:nvPr>
            <p:ph type="sldNum" sz="quarter" idx="12"/>
          </p:nvPr>
        </p:nvSpPr>
        <p:spPr/>
        <p:txBody>
          <a:bodyPr/>
          <a:lstStyle/>
          <a:p>
            <a:fld id="{14F0E55B-1EBF-4C63-9883-404455EB20A7}" type="slidenum">
              <a:rPr lang="en-GB" altLang="en-US" smtClean="0"/>
              <a:pPr/>
              <a:t>12</a:t>
            </a:fld>
            <a:endParaRPr lang="en-GB" altLang="en-US" dirty="0"/>
          </a:p>
        </p:txBody>
      </p:sp>
      <p:sp>
        <p:nvSpPr>
          <p:cNvPr id="5" name="Rectangle 4"/>
          <p:cNvSpPr/>
          <p:nvPr/>
        </p:nvSpPr>
        <p:spPr>
          <a:xfrm>
            <a:off x="737421" y="2654479"/>
            <a:ext cx="2477728" cy="1909916"/>
          </a:xfrm>
          <a:prstGeom prst="rect">
            <a:avLst/>
          </a:prstGeom>
          <a:solidFill>
            <a:srgbClr val="FFC000"/>
          </a:solidFill>
          <a:ln>
            <a:solidFill>
              <a:srgbClr val="FFC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BE" sz="1600" b="1" dirty="0"/>
              <a:t>1. AGRICULTURE and ENVIRONMENT</a:t>
            </a:r>
          </a:p>
          <a:p>
            <a:pPr algn="ctr"/>
            <a:endParaRPr lang="fr-BE" b="1" dirty="0"/>
          </a:p>
          <a:p>
            <a:pPr algn="ctr"/>
            <a:r>
              <a:rPr lang="en-GB" b="1" dirty="0"/>
              <a:t>SWARM</a:t>
            </a:r>
          </a:p>
          <a:p>
            <a:pPr algn="ctr"/>
            <a:r>
              <a:rPr lang="en-GB" b="1" dirty="0"/>
              <a:t>SETOF</a:t>
            </a:r>
          </a:p>
          <a:p>
            <a:pPr algn="ctr"/>
            <a:r>
              <a:rPr lang="en-GB" b="1" dirty="0" err="1"/>
              <a:t>HarISA</a:t>
            </a:r>
            <a:endParaRPr lang="en-GB" b="1" dirty="0"/>
          </a:p>
          <a:p>
            <a:pPr algn="ctr"/>
            <a:r>
              <a:rPr lang="en-GB" b="1" dirty="0"/>
              <a:t>ALMARS</a:t>
            </a:r>
          </a:p>
          <a:p>
            <a:pPr algn="ctr"/>
            <a:r>
              <a:rPr lang="en-GB" b="1" dirty="0"/>
              <a:t>STEPS</a:t>
            </a:r>
          </a:p>
          <a:p>
            <a:pPr algn="ctr"/>
            <a:endParaRPr lang="fr-BE" b="1" dirty="0"/>
          </a:p>
        </p:txBody>
      </p:sp>
      <p:sp>
        <p:nvSpPr>
          <p:cNvPr id="7" name="Rectangle 6"/>
          <p:cNvSpPr/>
          <p:nvPr/>
        </p:nvSpPr>
        <p:spPr>
          <a:xfrm>
            <a:off x="6164574" y="2654479"/>
            <a:ext cx="2476800" cy="1909916"/>
          </a:xfrm>
          <a:prstGeom prst="rect">
            <a:avLst/>
          </a:prstGeom>
          <a:solidFill>
            <a:schemeClr val="accent2"/>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b="1" dirty="0"/>
              <a:t>3. University – enterprise cooperation and entrepreneurship</a:t>
            </a:r>
          </a:p>
          <a:p>
            <a:pPr lvl="1" algn="ctr"/>
            <a:endParaRPr lang="en-GB" b="1" dirty="0"/>
          </a:p>
          <a:p>
            <a:pPr algn="ctr"/>
            <a:r>
              <a:rPr lang="en-GB" b="1" dirty="0"/>
              <a:t>All4R&amp;D</a:t>
            </a:r>
          </a:p>
          <a:p>
            <a:pPr algn="ctr"/>
            <a:r>
              <a:rPr lang="en-GB" b="1" dirty="0"/>
              <a:t>DEMUSIS</a:t>
            </a:r>
          </a:p>
          <a:p>
            <a:pPr algn="ctr"/>
            <a:r>
              <a:rPr lang="en-GB" b="1" dirty="0"/>
              <a:t>ADA</a:t>
            </a:r>
          </a:p>
          <a:p>
            <a:pPr lvl="1" algn="ctr"/>
            <a:endParaRPr lang="en-GB" b="1" dirty="0"/>
          </a:p>
        </p:txBody>
      </p:sp>
      <p:sp>
        <p:nvSpPr>
          <p:cNvPr id="8" name="Rectangle 7"/>
          <p:cNvSpPr/>
          <p:nvPr/>
        </p:nvSpPr>
        <p:spPr>
          <a:xfrm>
            <a:off x="737421" y="4681916"/>
            <a:ext cx="2477728" cy="1909916"/>
          </a:xfrm>
          <a:prstGeom prst="rect">
            <a:avLst/>
          </a:prstGeom>
          <a:solidFill>
            <a:srgbClr val="FFC000"/>
          </a:solidFill>
          <a:ln>
            <a:solidFill>
              <a:srgbClr val="FFC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4. Engineering and architecture</a:t>
            </a:r>
          </a:p>
          <a:p>
            <a:pPr algn="ctr"/>
            <a:endParaRPr lang="en-US" b="1" dirty="0"/>
          </a:p>
          <a:p>
            <a:pPr algn="ctr"/>
            <a:r>
              <a:rPr lang="en-US" b="1" dirty="0"/>
              <a:t>SENVIBE</a:t>
            </a:r>
          </a:p>
          <a:p>
            <a:pPr algn="ctr"/>
            <a:r>
              <a:rPr lang="en-US" b="1" dirty="0"/>
              <a:t>HURBE</a:t>
            </a:r>
          </a:p>
          <a:p>
            <a:pPr algn="ctr"/>
            <a:r>
              <a:rPr lang="en-US" b="1" dirty="0"/>
              <a:t>TRAFSAF</a:t>
            </a:r>
          </a:p>
        </p:txBody>
      </p:sp>
      <p:sp>
        <p:nvSpPr>
          <p:cNvPr id="9" name="Rectangle 8"/>
          <p:cNvSpPr/>
          <p:nvPr/>
        </p:nvSpPr>
        <p:spPr>
          <a:xfrm>
            <a:off x="3451462" y="4653137"/>
            <a:ext cx="2476800" cy="1224136"/>
          </a:xfrm>
          <a:prstGeom prst="rect">
            <a:avLst/>
          </a:prstGeom>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5. Structural reforms</a:t>
            </a:r>
          </a:p>
          <a:p>
            <a:pPr algn="ctr"/>
            <a:endParaRPr lang="en-US" b="1" dirty="0"/>
          </a:p>
          <a:p>
            <a:pPr algn="ctr"/>
            <a:r>
              <a:rPr lang="en-US" b="1" dirty="0"/>
              <a:t>e-VIVA</a:t>
            </a:r>
          </a:p>
          <a:p>
            <a:pPr algn="ctr"/>
            <a:r>
              <a:rPr lang="en-US" b="1" dirty="0"/>
              <a:t>MARDS</a:t>
            </a:r>
          </a:p>
        </p:txBody>
      </p:sp>
      <p:pic>
        <p:nvPicPr>
          <p:cNvPr id="11" name="Picture 5"/>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6732240" y="4797152"/>
            <a:ext cx="1409292" cy="1461413"/>
          </a:xfrm>
          <a:prstGeom prst="rect">
            <a:avLst/>
          </a:prstGeom>
        </p:spPr>
      </p:pic>
      <p:sp>
        <p:nvSpPr>
          <p:cNvPr id="10" name="Rectangle 9"/>
          <p:cNvSpPr/>
          <p:nvPr/>
        </p:nvSpPr>
        <p:spPr>
          <a:xfrm>
            <a:off x="3451462" y="2663731"/>
            <a:ext cx="2476800" cy="1900664"/>
          </a:xfrm>
          <a:prstGeom prst="rect">
            <a:avLst/>
          </a:prstGeom>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 Teacher Education</a:t>
            </a:r>
          </a:p>
          <a:p>
            <a:pPr algn="ctr"/>
            <a:endParaRPr lang="en-GB" b="1" dirty="0"/>
          </a:p>
          <a:p>
            <a:pPr algn="ctr"/>
            <a:r>
              <a:rPr lang="en-GB" b="1" dirty="0" err="1"/>
              <a:t>TeComp</a:t>
            </a:r>
            <a:endParaRPr lang="en-GB" b="1" dirty="0"/>
          </a:p>
          <a:p>
            <a:pPr algn="ctr"/>
            <a:r>
              <a:rPr lang="en-GB" b="1" dirty="0"/>
              <a:t>ITEM </a:t>
            </a:r>
          </a:p>
          <a:p>
            <a:pPr algn="ctr"/>
            <a:r>
              <a:rPr lang="en-GB" b="1" dirty="0"/>
              <a:t>PPMA</a:t>
            </a:r>
          </a:p>
          <a:p>
            <a:pPr algn="ctr"/>
            <a:r>
              <a:rPr lang="en-GB" b="1" dirty="0"/>
              <a:t>SMAHPC</a:t>
            </a:r>
          </a:p>
          <a:p>
            <a:pPr algn="ctr"/>
            <a:r>
              <a:rPr lang="en-GB" b="1" dirty="0"/>
              <a:t>KEY</a:t>
            </a:r>
          </a:p>
          <a:p>
            <a:pPr algn="ctr"/>
            <a:endParaRPr lang="en-US" b="1" dirty="0"/>
          </a:p>
        </p:txBody>
      </p:sp>
    </p:spTree>
    <p:extLst>
      <p:ext uri="{BB962C8B-B14F-4D97-AF65-F5344CB8AC3E}">
        <p14:creationId xmlns:p14="http://schemas.microsoft.com/office/powerpoint/2010/main" val="34625419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7544" y="2492896"/>
            <a:ext cx="8229600" cy="936625"/>
          </a:xfrm>
        </p:spPr>
        <p:txBody>
          <a:bodyPr/>
          <a:lstStyle/>
          <a:p>
            <a:pPr algn="ctr"/>
            <a:r>
              <a:rPr lang="nl-BE" dirty="0"/>
              <a:t>Activity part B</a:t>
            </a:r>
            <a:endParaRPr lang="en-GB" dirty="0"/>
          </a:p>
        </p:txBody>
      </p:sp>
      <p:pic>
        <p:nvPicPr>
          <p:cNvPr id="3" name="Picture 2" descr="C:\Users\pontm\AppData\Local\Microsoft\Windows\Temporary Internet Files\Content.IE5\WXG9M8T3\megaphone.png"/>
          <p:cNvPicPr>
            <a:picLocks noChangeAspect="1" noChangeArrowheads="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923928" y="3674864"/>
            <a:ext cx="1512168" cy="1512168"/>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43310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6588224" y="4725144"/>
            <a:ext cx="2380084" cy="1887885"/>
          </a:xfrm>
          <a:prstGeom prst="roundRect">
            <a:avLst>
              <a:gd name="adj" fmla="val 16670"/>
            </a:avLst>
          </a:prstGeom>
          <a:blipFill rotWithShape="1">
            <a:blip r:embed="rId3">
              <a:duotone>
                <a:schemeClr val="accent2">
                  <a:shade val="45000"/>
                  <a:satMod val="135000"/>
                </a:schemeClr>
                <a:prstClr val="white"/>
              </a:duotone>
            </a:blip>
            <a:stretch>
              <a:fillRect/>
            </a:stretch>
          </a:blip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 name="Rectangle 2"/>
          <p:cNvSpPr>
            <a:spLocks noGrp="1" noChangeArrowheads="1"/>
          </p:cNvSpPr>
          <p:nvPr>
            <p:ph type="title"/>
          </p:nvPr>
        </p:nvSpPr>
        <p:spPr>
          <a:xfrm>
            <a:off x="395288" y="1339850"/>
            <a:ext cx="8229600" cy="936625"/>
          </a:xfrm>
        </p:spPr>
        <p:txBody>
          <a:bodyPr/>
          <a:lstStyle/>
          <a:p>
            <a:r>
              <a:rPr lang="en-US" altLang="en-US" dirty="0"/>
              <a:t>What have I learned from this discussion?</a:t>
            </a:r>
          </a:p>
        </p:txBody>
      </p:sp>
      <p:sp>
        <p:nvSpPr>
          <p:cNvPr id="3" name="Rectangle 3"/>
          <p:cNvSpPr txBox="1">
            <a:spLocks noChangeArrowheads="1"/>
          </p:cNvSpPr>
          <p:nvPr/>
        </p:nvSpPr>
        <p:spPr bwMode="auto">
          <a:xfrm>
            <a:off x="323528" y="2334320"/>
            <a:ext cx="8229600" cy="3960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spcBef>
                <a:spcPct val="20000"/>
              </a:spcBef>
              <a:spcAft>
                <a:spcPct val="0"/>
              </a:spcAft>
              <a:buClr>
                <a:schemeClr val="bg1"/>
              </a:buClr>
              <a:buChar char="•"/>
              <a:defRPr sz="2400" i="1">
                <a:solidFill>
                  <a:srgbClr val="0F5494"/>
                </a:solidFill>
                <a:latin typeface="+mn-lt"/>
                <a:ea typeface="+mn-ea"/>
                <a:cs typeface="+mn-cs"/>
              </a:defRPr>
            </a:lvl1pPr>
            <a:lvl2pPr marL="742950" indent="-285750" algn="l" rtl="0" eaLnBrk="1" fontAlgn="base" hangingPunct="1">
              <a:spcBef>
                <a:spcPct val="20000"/>
              </a:spcBef>
              <a:spcAft>
                <a:spcPct val="0"/>
              </a:spcAft>
              <a:buClr>
                <a:srgbClr val="009FBA"/>
              </a:buClr>
              <a:buChar char="•"/>
              <a:defRPr sz="2000" b="1">
                <a:solidFill>
                  <a:srgbClr val="0F5494"/>
                </a:solidFill>
                <a:latin typeface="+mn-lt"/>
              </a:defRPr>
            </a:lvl2pPr>
            <a:lvl3pPr marL="1143000" indent="-228600" algn="l" rtl="0" eaLnBrk="1" fontAlgn="base" hangingPunct="1">
              <a:spcBef>
                <a:spcPct val="20000"/>
              </a:spcBef>
              <a:spcAft>
                <a:spcPct val="0"/>
              </a:spcAft>
              <a:defRPr sz="1400">
                <a:solidFill>
                  <a:srgbClr val="0F5494"/>
                </a:solidFill>
                <a:latin typeface="+mn-lt"/>
              </a:defRPr>
            </a:lvl3pPr>
            <a:lvl4pPr marL="1600200" indent="-228600" algn="l" rtl="0" eaLnBrk="1" fontAlgn="base" hangingPunct="1">
              <a:spcBef>
                <a:spcPct val="20000"/>
              </a:spcBef>
              <a:spcAft>
                <a:spcPct val="0"/>
              </a:spcAft>
              <a:buChar char="–"/>
              <a:defRPr sz="2000">
                <a:solidFill>
                  <a:schemeClr val="tx1"/>
                </a:solidFill>
                <a:latin typeface="Arial" charset="0"/>
              </a:defRPr>
            </a:lvl4pPr>
            <a:lvl5pPr marL="2057400" indent="-228600" algn="l" rtl="0" eaLnBrk="1" fontAlgn="base" hangingPunct="1">
              <a:spcBef>
                <a:spcPct val="20000"/>
              </a:spcBef>
              <a:spcAft>
                <a:spcPct val="0"/>
              </a:spcAft>
              <a:buChar char="»"/>
              <a:defRPr sz="2000">
                <a:solidFill>
                  <a:schemeClr val="tx1"/>
                </a:solidFill>
                <a:latin typeface="Arial" charset="0"/>
              </a:defRPr>
            </a:lvl5pPr>
            <a:lvl6pPr marL="2514600" indent="-228600" algn="l" rtl="0" eaLnBrk="1" fontAlgn="base" hangingPunct="1">
              <a:spcBef>
                <a:spcPct val="20000"/>
              </a:spcBef>
              <a:spcAft>
                <a:spcPct val="0"/>
              </a:spcAft>
              <a:buChar char="»"/>
              <a:defRPr sz="2000">
                <a:solidFill>
                  <a:schemeClr val="tx1"/>
                </a:solidFill>
                <a:latin typeface="Arial" charset="0"/>
              </a:defRPr>
            </a:lvl6pPr>
            <a:lvl7pPr marL="2971800" indent="-228600" algn="l" rtl="0" eaLnBrk="1" fontAlgn="base" hangingPunct="1">
              <a:spcBef>
                <a:spcPct val="20000"/>
              </a:spcBef>
              <a:spcAft>
                <a:spcPct val="0"/>
              </a:spcAft>
              <a:buChar char="»"/>
              <a:defRPr sz="2000">
                <a:solidFill>
                  <a:schemeClr val="tx1"/>
                </a:solidFill>
                <a:latin typeface="Arial" charset="0"/>
              </a:defRPr>
            </a:lvl7pPr>
            <a:lvl8pPr marL="3429000" indent="-228600" algn="l" rtl="0" eaLnBrk="1" fontAlgn="base" hangingPunct="1">
              <a:spcBef>
                <a:spcPct val="20000"/>
              </a:spcBef>
              <a:spcAft>
                <a:spcPct val="0"/>
              </a:spcAft>
              <a:buChar char="»"/>
              <a:defRPr sz="2000">
                <a:solidFill>
                  <a:schemeClr val="tx1"/>
                </a:solidFill>
                <a:latin typeface="Arial" charset="0"/>
              </a:defRPr>
            </a:lvl8pPr>
            <a:lvl9pPr marL="3886200" indent="-228600" algn="l" rtl="0" eaLnBrk="1" fontAlgn="base" hangingPunct="1">
              <a:spcBef>
                <a:spcPct val="20000"/>
              </a:spcBef>
              <a:spcAft>
                <a:spcPct val="0"/>
              </a:spcAft>
              <a:buChar char="»"/>
              <a:defRPr sz="2000">
                <a:solidFill>
                  <a:schemeClr val="tx1"/>
                </a:solidFill>
                <a:latin typeface="Arial" charset="0"/>
              </a:defRPr>
            </a:lvl9pPr>
          </a:lstStyle>
          <a:p>
            <a:pPr lvl="1">
              <a:buFont typeface="Wingdings" panose="05000000000000000000" pitchFamily="2" charset="2"/>
              <a:buChar char="ü"/>
            </a:pPr>
            <a:r>
              <a:rPr lang="en-GB" b="0" kern="0" dirty="0"/>
              <a:t>Did you meet new people? </a:t>
            </a:r>
          </a:p>
          <a:p>
            <a:pPr lvl="1">
              <a:buFont typeface="Wingdings" panose="05000000000000000000" pitchFamily="2" charset="2"/>
              <a:buChar char="ü"/>
            </a:pPr>
            <a:r>
              <a:rPr lang="en-GB" b="0" kern="0" dirty="0"/>
              <a:t>Can you use these contacts during your project implementation?</a:t>
            </a:r>
          </a:p>
          <a:p>
            <a:pPr lvl="1">
              <a:buFont typeface="Wingdings" panose="05000000000000000000" pitchFamily="2" charset="2"/>
              <a:buChar char="ü"/>
            </a:pPr>
            <a:r>
              <a:rPr lang="en-GB" b="0" kern="0" dirty="0"/>
              <a:t>Did you get to know new institutions you could work with in the future?</a:t>
            </a:r>
          </a:p>
          <a:p>
            <a:pPr lvl="1">
              <a:buFont typeface="Wingdings" panose="05000000000000000000" pitchFamily="2" charset="2"/>
              <a:buChar char="ü"/>
            </a:pPr>
            <a:r>
              <a:rPr lang="en-GB" b="0" kern="0" dirty="0"/>
              <a:t>Any synergies that could be developed with other projects?</a:t>
            </a:r>
          </a:p>
          <a:p>
            <a:pPr lvl="1">
              <a:buFont typeface="Wingdings" panose="05000000000000000000" pitchFamily="2" charset="2"/>
              <a:buChar char="ü"/>
            </a:pPr>
            <a:r>
              <a:rPr lang="en-GB" b="0" kern="0" dirty="0"/>
              <a:t>Have you identified among the policy </a:t>
            </a:r>
          </a:p>
          <a:p>
            <a:pPr marL="457200" lvl="1" indent="0">
              <a:buNone/>
            </a:pPr>
            <a:r>
              <a:rPr lang="en-GB" b="0" kern="0" dirty="0"/>
              <a:t>challenges in the field of HE some issues </a:t>
            </a:r>
          </a:p>
          <a:p>
            <a:pPr marL="457200" lvl="1" indent="0">
              <a:buNone/>
            </a:pPr>
            <a:r>
              <a:rPr lang="en-GB" b="0" kern="0" dirty="0"/>
              <a:t>that your project might tackle?</a:t>
            </a:r>
          </a:p>
          <a:p>
            <a:pPr marL="0" indent="0">
              <a:buFontTx/>
              <a:buNone/>
            </a:pPr>
            <a:endParaRPr lang="en-GB" kern="0" dirty="0"/>
          </a:p>
          <a:p>
            <a:pPr marL="0" indent="0">
              <a:buFontTx/>
              <a:buNone/>
            </a:pPr>
            <a:endParaRPr lang="en-GB" kern="0" dirty="0"/>
          </a:p>
          <a:p>
            <a:endParaRPr lang="en-US" altLang="en-US" kern="0" dirty="0"/>
          </a:p>
        </p:txBody>
      </p:sp>
    </p:spTree>
    <p:extLst>
      <p:ext uri="{BB962C8B-B14F-4D97-AF65-F5344CB8AC3E}">
        <p14:creationId xmlns:p14="http://schemas.microsoft.com/office/powerpoint/2010/main" val="7243310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3" descr="thankyou3.jp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625037" y="1340768"/>
            <a:ext cx="7835395" cy="51875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235576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clrChange>
              <a:clrFrom>
                <a:srgbClr val="FDFDFD"/>
              </a:clrFrom>
              <a:clrTo>
                <a:srgbClr val="FDFDFD">
                  <a:alpha val="0"/>
                </a:srgbClr>
              </a:clrTo>
            </a:clrChange>
            <a:extLst>
              <a:ext uri="{BEBA8EAE-BF5A-486C-A8C5-ECC9F3942E4B}">
                <a14:imgProps xmlns:a14="http://schemas.microsoft.com/office/drawing/2010/main">
                  <a14:imgLayer r:embed="rId4">
                    <a14:imgEffect>
                      <a14:sharpenSoften amount="2000"/>
                    </a14:imgEffect>
                  </a14:imgLayer>
                </a14:imgProps>
              </a:ext>
              <a:ext uri="{28A0092B-C50C-407E-A947-70E740481C1C}">
                <a14:useLocalDpi xmlns:a14="http://schemas.microsoft.com/office/drawing/2010/main" val="0"/>
              </a:ext>
            </a:extLst>
          </a:blip>
          <a:srcRect/>
          <a:stretch>
            <a:fillRect/>
          </a:stretch>
        </p:blipFill>
        <p:spPr bwMode="auto">
          <a:xfrm>
            <a:off x="395288" y="2636911"/>
            <a:ext cx="8353176" cy="402203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Slide Number Placeholder 3"/>
          <p:cNvSpPr>
            <a:spLocks noGrp="1"/>
          </p:cNvSpPr>
          <p:nvPr>
            <p:ph type="sldNum" sz="quarter" idx="12"/>
          </p:nvPr>
        </p:nvSpPr>
        <p:spPr/>
        <p:txBody>
          <a:bodyPr/>
          <a:lstStyle/>
          <a:p>
            <a:fld id="{14F0E55B-1EBF-4C63-9883-404455EB20A7}" type="slidenum">
              <a:rPr lang="en-GB" altLang="en-US" smtClean="0"/>
              <a:pPr/>
              <a:t>2</a:t>
            </a:fld>
            <a:endParaRPr lang="en-GB" altLang="en-US" dirty="0"/>
          </a:p>
        </p:txBody>
      </p:sp>
      <p:sp>
        <p:nvSpPr>
          <p:cNvPr id="9" name="Oval 8"/>
          <p:cNvSpPr/>
          <p:nvPr/>
        </p:nvSpPr>
        <p:spPr bwMode="auto">
          <a:xfrm>
            <a:off x="3347864" y="2636912"/>
            <a:ext cx="1800200" cy="936104"/>
          </a:xfrm>
          <a:prstGeom prst="ellipse">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bodyPr>
          <a:lstStyle/>
          <a:p>
            <a:pPr marL="3175" marR="0" indent="0" algn="l"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a:ln>
                <a:noFill/>
              </a:ln>
              <a:solidFill>
                <a:srgbClr val="0F5494"/>
              </a:solidFill>
              <a:effectLst/>
              <a:latin typeface="Verdana" pitchFamily="34" charset="0"/>
            </a:endParaRPr>
          </a:p>
        </p:txBody>
      </p:sp>
      <p:sp>
        <p:nvSpPr>
          <p:cNvPr id="14" name="Title 1"/>
          <p:cNvSpPr txBox="1">
            <a:spLocks/>
          </p:cNvSpPr>
          <p:nvPr/>
        </p:nvSpPr>
        <p:spPr bwMode="auto">
          <a:xfrm>
            <a:off x="395288" y="1484784"/>
            <a:ext cx="8229600" cy="9366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marL="358775" algn="l" rtl="0" eaLnBrk="1" fontAlgn="base" hangingPunct="1">
              <a:spcBef>
                <a:spcPct val="0"/>
              </a:spcBef>
              <a:spcAft>
                <a:spcPct val="0"/>
              </a:spcAft>
              <a:defRPr sz="3000" b="1">
                <a:solidFill>
                  <a:srgbClr val="0F5494"/>
                </a:solidFill>
                <a:latin typeface="+mj-lt"/>
                <a:ea typeface="+mj-ea"/>
                <a:cs typeface="+mj-cs"/>
              </a:defRPr>
            </a:lvl1pPr>
            <a:lvl2pPr marL="358775" algn="l" rtl="0" eaLnBrk="1" fontAlgn="base" hangingPunct="1">
              <a:spcBef>
                <a:spcPct val="0"/>
              </a:spcBef>
              <a:spcAft>
                <a:spcPct val="0"/>
              </a:spcAft>
              <a:defRPr sz="3000" b="1">
                <a:solidFill>
                  <a:srgbClr val="0F5494"/>
                </a:solidFill>
                <a:latin typeface="Verdana" pitchFamily="34" charset="0"/>
              </a:defRPr>
            </a:lvl2pPr>
            <a:lvl3pPr marL="358775" algn="l" rtl="0" eaLnBrk="1" fontAlgn="base" hangingPunct="1">
              <a:spcBef>
                <a:spcPct val="0"/>
              </a:spcBef>
              <a:spcAft>
                <a:spcPct val="0"/>
              </a:spcAft>
              <a:defRPr sz="3000" b="1">
                <a:solidFill>
                  <a:srgbClr val="0F5494"/>
                </a:solidFill>
                <a:latin typeface="Verdana" pitchFamily="34" charset="0"/>
              </a:defRPr>
            </a:lvl3pPr>
            <a:lvl4pPr marL="358775" algn="l" rtl="0" eaLnBrk="1" fontAlgn="base" hangingPunct="1">
              <a:spcBef>
                <a:spcPct val="0"/>
              </a:spcBef>
              <a:spcAft>
                <a:spcPct val="0"/>
              </a:spcAft>
              <a:defRPr sz="3000" b="1">
                <a:solidFill>
                  <a:srgbClr val="0F5494"/>
                </a:solidFill>
                <a:latin typeface="Verdana" pitchFamily="34" charset="0"/>
              </a:defRPr>
            </a:lvl4pPr>
            <a:lvl5pPr marL="358775" algn="l" rtl="0" eaLnBrk="1" fontAlgn="base" hangingPunct="1">
              <a:spcBef>
                <a:spcPct val="0"/>
              </a:spcBef>
              <a:spcAft>
                <a:spcPct val="0"/>
              </a:spcAft>
              <a:defRPr sz="3000" b="1">
                <a:solidFill>
                  <a:srgbClr val="0F5494"/>
                </a:solidFill>
                <a:latin typeface="Verdana" pitchFamily="34" charset="0"/>
              </a:defRPr>
            </a:lvl5pPr>
            <a:lvl6pPr marL="815975" algn="l" rtl="0" eaLnBrk="1" fontAlgn="base" hangingPunct="1">
              <a:spcBef>
                <a:spcPct val="0"/>
              </a:spcBef>
              <a:spcAft>
                <a:spcPct val="0"/>
              </a:spcAft>
              <a:defRPr sz="3000" b="1">
                <a:solidFill>
                  <a:srgbClr val="0F5494"/>
                </a:solidFill>
                <a:latin typeface="Verdana" pitchFamily="34" charset="0"/>
              </a:defRPr>
            </a:lvl6pPr>
            <a:lvl7pPr marL="1273175" algn="l" rtl="0" eaLnBrk="1" fontAlgn="base" hangingPunct="1">
              <a:spcBef>
                <a:spcPct val="0"/>
              </a:spcBef>
              <a:spcAft>
                <a:spcPct val="0"/>
              </a:spcAft>
              <a:defRPr sz="3000" b="1">
                <a:solidFill>
                  <a:srgbClr val="0F5494"/>
                </a:solidFill>
                <a:latin typeface="Verdana" pitchFamily="34" charset="0"/>
              </a:defRPr>
            </a:lvl7pPr>
            <a:lvl8pPr marL="1730375" algn="l" rtl="0" eaLnBrk="1" fontAlgn="base" hangingPunct="1">
              <a:spcBef>
                <a:spcPct val="0"/>
              </a:spcBef>
              <a:spcAft>
                <a:spcPct val="0"/>
              </a:spcAft>
              <a:defRPr sz="3000" b="1">
                <a:solidFill>
                  <a:srgbClr val="0F5494"/>
                </a:solidFill>
                <a:latin typeface="Verdana" pitchFamily="34" charset="0"/>
              </a:defRPr>
            </a:lvl8pPr>
            <a:lvl9pPr marL="2187575" algn="l" rtl="0" eaLnBrk="1" fontAlgn="base" hangingPunct="1">
              <a:spcBef>
                <a:spcPct val="0"/>
              </a:spcBef>
              <a:spcAft>
                <a:spcPct val="0"/>
              </a:spcAft>
              <a:defRPr sz="3000" b="1">
                <a:solidFill>
                  <a:srgbClr val="0F5494"/>
                </a:solidFill>
                <a:latin typeface="Verdana" pitchFamily="34" charset="0"/>
              </a:defRPr>
            </a:lvl9pPr>
          </a:lstStyle>
          <a:p>
            <a:pPr algn="ctr"/>
            <a:r>
              <a:rPr lang="en-GB" kern="0" dirty="0"/>
              <a:t>CBHE Results Western Balkans</a:t>
            </a:r>
          </a:p>
          <a:p>
            <a:pPr algn="ctr"/>
            <a:r>
              <a:rPr lang="en-GB" kern="0" dirty="0"/>
              <a:t>(selected and coordinated)</a:t>
            </a:r>
          </a:p>
        </p:txBody>
      </p:sp>
      <p:graphicFrame>
        <p:nvGraphicFramePr>
          <p:cNvPr id="15" name="Content Placeholder 3"/>
          <p:cNvGraphicFramePr>
            <a:graphicFrameLocks noGrp="1"/>
          </p:cNvGraphicFramePr>
          <p:nvPr>
            <p:ph idx="1"/>
            <p:extLst>
              <p:ext uri="{D42A27DB-BD31-4B8C-83A1-F6EECF244321}">
                <p14:modId xmlns:p14="http://schemas.microsoft.com/office/powerpoint/2010/main" val="2301930402"/>
              </p:ext>
            </p:extLst>
          </p:nvPr>
        </p:nvGraphicFramePr>
        <p:xfrm>
          <a:off x="1768612" y="2780928"/>
          <a:ext cx="5482952" cy="3529013"/>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6542860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395288" y="1339850"/>
            <a:ext cx="8229600" cy="936625"/>
          </a:xfrm>
        </p:spPr>
        <p:txBody>
          <a:bodyPr/>
          <a:lstStyle/>
          <a:p>
            <a:r>
              <a:rPr lang="nl-BE" dirty="0" err="1"/>
              <a:t>Participation</a:t>
            </a:r>
            <a:r>
              <a:rPr lang="nl-BE" dirty="0"/>
              <a:t> per country</a:t>
            </a:r>
            <a:endParaRPr lang="en-GB" dirty="0"/>
          </a:p>
        </p:txBody>
      </p:sp>
      <p:pic>
        <p:nvPicPr>
          <p:cNvPr id="9" name="Picture 2" descr="C:\Users\encisbe\Desktop\WB.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8526" y="2390017"/>
            <a:ext cx="7200800" cy="36724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6741135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539552" y="1124744"/>
            <a:ext cx="8229600" cy="936625"/>
          </a:xfrm>
        </p:spPr>
        <p:txBody>
          <a:bodyPr/>
          <a:lstStyle/>
          <a:p>
            <a:r>
              <a:rPr lang="en-GB" dirty="0"/>
              <a:t>WB results 2018: out of 19 projects</a:t>
            </a: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364878328"/>
              </p:ext>
            </p:extLst>
          </p:nvPr>
        </p:nvGraphicFramePr>
        <p:xfrm>
          <a:off x="107504" y="2420888"/>
          <a:ext cx="4032448" cy="367240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p:cNvGraphicFramePr>
            <a:graphicFrameLocks/>
          </p:cNvGraphicFramePr>
          <p:nvPr>
            <p:extLst>
              <p:ext uri="{D42A27DB-BD31-4B8C-83A1-F6EECF244321}">
                <p14:modId xmlns:p14="http://schemas.microsoft.com/office/powerpoint/2010/main" val="2481422214"/>
              </p:ext>
            </p:extLst>
          </p:nvPr>
        </p:nvGraphicFramePr>
        <p:xfrm>
          <a:off x="4067944" y="2924944"/>
          <a:ext cx="4572000" cy="2743200"/>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2117229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539552" y="1124744"/>
            <a:ext cx="8229600" cy="936625"/>
          </a:xfrm>
        </p:spPr>
        <p:txBody>
          <a:bodyPr/>
          <a:lstStyle/>
          <a:p>
            <a:r>
              <a:rPr lang="en-GB" dirty="0"/>
              <a:t>WB results 2018: out of 19 projects</a:t>
            </a:r>
          </a:p>
        </p:txBody>
      </p:sp>
      <p:sp>
        <p:nvSpPr>
          <p:cNvPr id="9" name="Content Placeholder 2"/>
          <p:cNvSpPr>
            <a:spLocks noGrp="1"/>
          </p:cNvSpPr>
          <p:nvPr>
            <p:ph idx="1"/>
          </p:nvPr>
        </p:nvSpPr>
        <p:spPr>
          <a:xfrm>
            <a:off x="611560" y="2276872"/>
            <a:ext cx="8229600" cy="3960440"/>
          </a:xfrm>
        </p:spPr>
        <p:txBody>
          <a:bodyPr/>
          <a:lstStyle/>
          <a:p>
            <a:pPr marL="0" lvl="1" indent="0">
              <a:spcAft>
                <a:spcPts val="600"/>
              </a:spcAft>
              <a:buClr>
                <a:schemeClr val="bg1"/>
              </a:buClr>
              <a:buNone/>
            </a:pPr>
            <a:r>
              <a:rPr lang="en-GB" sz="2400" b="0" dirty="0"/>
              <a:t>7 National Projects (4RS-1BA-1XK-1AL)</a:t>
            </a:r>
          </a:p>
          <a:p>
            <a:pPr marL="0" lvl="1" indent="0">
              <a:spcAft>
                <a:spcPts val="600"/>
              </a:spcAft>
              <a:buClr>
                <a:schemeClr val="bg1"/>
              </a:buClr>
              <a:buNone/>
            </a:pPr>
            <a:r>
              <a:rPr lang="en-GB" sz="2400" b="0" dirty="0"/>
              <a:t>1 Structural Projects (ME and AL)</a:t>
            </a:r>
          </a:p>
          <a:p>
            <a:pPr marL="0" indent="0">
              <a:spcAft>
                <a:spcPts val="600"/>
              </a:spcAft>
              <a:buNone/>
            </a:pPr>
            <a:r>
              <a:rPr lang="en-GB" i="0" dirty="0"/>
              <a:t>9 Regional (at least 2 WB countries cooperate – 1 has 5 WB countries)</a:t>
            </a:r>
          </a:p>
          <a:p>
            <a:pPr marL="0" indent="0">
              <a:spcAft>
                <a:spcPts val="600"/>
              </a:spcAft>
              <a:buNone/>
            </a:pPr>
            <a:r>
              <a:rPr lang="en-GB" i="0" dirty="0"/>
              <a:t>3 Cross regional (with RU, AM, UZ and IL)</a:t>
            </a:r>
          </a:p>
          <a:p>
            <a:pPr marL="0" indent="0">
              <a:spcAft>
                <a:spcPts val="600"/>
              </a:spcAft>
              <a:buNone/>
            </a:pPr>
            <a:r>
              <a:rPr lang="en-GB" i="0" dirty="0"/>
              <a:t>13 Coordinated by WB Institutions</a:t>
            </a:r>
          </a:p>
          <a:p>
            <a:pPr marL="800100" lvl="2" indent="0"/>
            <a:r>
              <a:rPr lang="en-GB" sz="2400" i="0" dirty="0"/>
              <a:t>8 by </a:t>
            </a:r>
            <a:r>
              <a:rPr lang="en-GB" sz="2400" dirty="0"/>
              <a:t>RS HEIs   2 by XK HEIs</a:t>
            </a:r>
            <a:endParaRPr lang="en-GB" sz="2400" i="0" dirty="0"/>
          </a:p>
          <a:p>
            <a:pPr marL="800100" lvl="2" indent="0"/>
            <a:r>
              <a:rPr lang="en-GB" sz="2400" i="0" dirty="0"/>
              <a:t>2 by </a:t>
            </a:r>
            <a:r>
              <a:rPr lang="en-GB" sz="2400" dirty="0"/>
              <a:t>AL HEIs    1 by ME HEIs</a:t>
            </a:r>
          </a:p>
          <a:p>
            <a:pPr marL="800100" lvl="2" indent="0"/>
            <a:endParaRPr lang="en-GB" sz="2000" i="0" dirty="0"/>
          </a:p>
        </p:txBody>
      </p:sp>
    </p:spTree>
    <p:extLst>
      <p:ext uri="{BB962C8B-B14F-4D97-AF65-F5344CB8AC3E}">
        <p14:creationId xmlns:p14="http://schemas.microsoft.com/office/powerpoint/2010/main" val="11834390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Resultat d'imatges de A credible enlargement perspective for and enhanced EU engagement with the Western Balkans"/>
          <p:cNvPicPr>
            <a:picLocks noChangeAspect="1" noChangeArrowheads="1"/>
          </p:cNvPicPr>
          <p:nvPr/>
        </p:nvPicPr>
        <p:blipFill>
          <a:blip r:embed="rId3">
            <a:extLst>
              <a:ext uri="{BEBA8EAE-BF5A-486C-A8C5-ECC9F3942E4B}">
                <a14:imgProps xmlns:a14="http://schemas.microsoft.com/office/drawing/2010/main">
                  <a14:imgLayer r:embed="rId4">
                    <a14:imgEffect>
                      <a14:sharpenSoften amount="-7000"/>
                    </a14:imgEffect>
                    <a14:imgEffect>
                      <a14:brightnessContrast bright="20000" contrast="40000"/>
                    </a14:imgEffect>
                  </a14:imgLayer>
                </a14:imgProps>
              </a:ext>
              <a:ext uri="{28A0092B-C50C-407E-A947-70E740481C1C}">
                <a14:useLocalDpi xmlns:a14="http://schemas.microsoft.com/office/drawing/2010/main" val="0"/>
              </a:ext>
            </a:extLst>
          </a:blip>
          <a:srcRect/>
          <a:stretch>
            <a:fillRect/>
          </a:stretch>
        </p:blipFill>
        <p:spPr bwMode="auto">
          <a:xfrm>
            <a:off x="2875547" y="2432217"/>
            <a:ext cx="6015455" cy="4016835"/>
          </a:xfrm>
          <a:prstGeom prst="rect">
            <a:avLst/>
          </a:prstGeom>
          <a:gradFill>
            <a:gsLst>
              <a:gs pos="0">
                <a:schemeClr val="accent1">
                  <a:shade val="30000"/>
                  <a:satMod val="115000"/>
                </a:schemeClr>
              </a:gs>
              <a:gs pos="50000">
                <a:schemeClr val="accent1">
                  <a:shade val="67500"/>
                  <a:satMod val="115000"/>
                </a:schemeClr>
              </a:gs>
              <a:gs pos="100000">
                <a:schemeClr val="accent1">
                  <a:shade val="100000"/>
                  <a:satMod val="115000"/>
                </a:schemeClr>
              </a:gs>
            </a:gsLst>
            <a:lin ang="5400000" scaled="0"/>
          </a:gradFill>
          <a:effectLst>
            <a:glow rad="127000">
              <a:schemeClr val="accent1">
                <a:alpha val="0"/>
              </a:schemeClr>
            </a:glow>
          </a:effectLst>
        </p:spPr>
      </p:pic>
      <p:sp>
        <p:nvSpPr>
          <p:cNvPr id="2" name="Title 1"/>
          <p:cNvSpPr>
            <a:spLocks noGrp="1"/>
          </p:cNvSpPr>
          <p:nvPr>
            <p:ph type="title"/>
          </p:nvPr>
        </p:nvSpPr>
        <p:spPr/>
        <p:txBody>
          <a:bodyPr>
            <a:normAutofit/>
          </a:bodyPr>
          <a:lstStyle/>
          <a:p>
            <a:pPr algn="ctr"/>
            <a:r>
              <a:rPr lang="en-GB" dirty="0"/>
              <a:t>New Strategy – February 2018</a:t>
            </a:r>
          </a:p>
        </p:txBody>
      </p:sp>
      <p:sp>
        <p:nvSpPr>
          <p:cNvPr id="4" name="Content Placeholder 3"/>
          <p:cNvSpPr>
            <a:spLocks noGrp="1"/>
          </p:cNvSpPr>
          <p:nvPr>
            <p:ph idx="1"/>
          </p:nvPr>
        </p:nvSpPr>
        <p:spPr>
          <a:xfrm>
            <a:off x="536531" y="2432217"/>
            <a:ext cx="8301608" cy="2493906"/>
          </a:xfrm>
        </p:spPr>
        <p:txBody>
          <a:bodyPr>
            <a:normAutofit/>
          </a:bodyPr>
          <a:lstStyle/>
          <a:p>
            <a:pPr marL="0" indent="0" algn="just">
              <a:buClrTx/>
              <a:buNone/>
            </a:pPr>
            <a:r>
              <a:rPr lang="en-GB" sz="2000" i="0" dirty="0"/>
              <a:t>A credible enlargement perspective </a:t>
            </a:r>
          </a:p>
          <a:p>
            <a:pPr marL="0" indent="0" algn="just">
              <a:buClrTx/>
              <a:buNone/>
            </a:pPr>
            <a:r>
              <a:rPr lang="en-GB" sz="2000" i="0" dirty="0"/>
              <a:t>for and enhanced EU engagement </a:t>
            </a:r>
          </a:p>
          <a:p>
            <a:pPr marL="0" indent="0" algn="just">
              <a:buClrTx/>
              <a:buNone/>
            </a:pPr>
            <a:r>
              <a:rPr lang="en-GB" sz="2000" i="0" dirty="0"/>
              <a:t>with the Western Balkans</a:t>
            </a:r>
            <a:endParaRPr lang="es-ES" sz="2000" i="0" dirty="0"/>
          </a:p>
          <a:p>
            <a:pPr marL="0" indent="0" algn="just">
              <a:buClrTx/>
              <a:buNone/>
            </a:pPr>
            <a:endParaRPr lang="es-ES" sz="2000" i="0" dirty="0"/>
          </a:p>
          <a:p>
            <a:pPr marL="0" indent="0" algn="just">
              <a:buClrTx/>
              <a:buNone/>
            </a:pPr>
            <a:endParaRPr lang="es-ES" sz="2000" i="0" dirty="0"/>
          </a:p>
          <a:p>
            <a:pPr marL="0" indent="0" algn="just">
              <a:buClrTx/>
              <a:buNone/>
            </a:pPr>
            <a:endParaRPr lang="es-ES" sz="2000" i="0" dirty="0"/>
          </a:p>
          <a:p>
            <a:pPr marL="0" indent="0" algn="just">
              <a:buClrTx/>
              <a:buNone/>
            </a:pPr>
            <a:endParaRPr lang="es-ES" sz="1800" i="0" dirty="0"/>
          </a:p>
        </p:txBody>
      </p:sp>
      <p:sp>
        <p:nvSpPr>
          <p:cNvPr id="6" name="Rectangle 5"/>
          <p:cNvSpPr/>
          <p:nvPr/>
        </p:nvSpPr>
        <p:spPr>
          <a:xfrm>
            <a:off x="989136" y="4005064"/>
            <a:ext cx="7770076" cy="1292662"/>
          </a:xfrm>
          <a:prstGeom prst="rect">
            <a:avLst/>
          </a:prstGeom>
        </p:spPr>
        <p:txBody>
          <a:bodyPr wrap="none">
            <a:spAutoFit/>
          </a:bodyPr>
          <a:lstStyle/>
          <a:p>
            <a:r>
              <a:rPr lang="es-ES" sz="2000" dirty="0">
                <a:solidFill>
                  <a:srgbClr val="0F5494"/>
                </a:solidFill>
                <a:latin typeface="Calibri"/>
                <a:cs typeface="Calibri"/>
              </a:rPr>
              <a:t>→ </a:t>
            </a:r>
            <a:r>
              <a:rPr lang="en-GB" sz="2000" dirty="0"/>
              <a:t>Supporting socio-economic development</a:t>
            </a:r>
          </a:p>
          <a:p>
            <a:r>
              <a:rPr lang="en-GB" sz="2000" dirty="0">
                <a:latin typeface="Calibri"/>
                <a:cs typeface="Calibri"/>
              </a:rPr>
              <a:t>→ </a:t>
            </a:r>
            <a:r>
              <a:rPr lang="en-GB" sz="2000" dirty="0"/>
              <a:t>Launching a Digital Agenda</a:t>
            </a:r>
          </a:p>
          <a:p>
            <a:r>
              <a:rPr lang="en-GB" sz="2000" dirty="0">
                <a:solidFill>
                  <a:srgbClr val="0F5494"/>
                </a:solidFill>
                <a:latin typeface="Calibri"/>
                <a:cs typeface="Calibri"/>
              </a:rPr>
              <a:t>→ </a:t>
            </a:r>
            <a:r>
              <a:rPr lang="en-GB" sz="2000" dirty="0"/>
              <a:t>Supporting reconciliation and good neighbourly relations</a:t>
            </a:r>
          </a:p>
          <a:p>
            <a:endParaRPr lang="en-GB" sz="1800" dirty="0">
              <a:solidFill>
                <a:srgbClr val="0F5494"/>
              </a:solidFill>
            </a:endParaRPr>
          </a:p>
        </p:txBody>
      </p:sp>
    </p:spTree>
    <p:extLst>
      <p:ext uri="{BB962C8B-B14F-4D97-AF65-F5344CB8AC3E}">
        <p14:creationId xmlns:p14="http://schemas.microsoft.com/office/powerpoint/2010/main" val="11869238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7009" y="1412421"/>
            <a:ext cx="8229601" cy="936625"/>
          </a:xfrm>
        </p:spPr>
        <p:txBody>
          <a:bodyPr>
            <a:normAutofit fontScale="90000"/>
          </a:bodyPr>
          <a:lstStyle/>
          <a:p>
            <a:pPr algn="ctr"/>
            <a:r>
              <a:rPr lang="es-ES" dirty="0"/>
              <a:t>Regional dialogue</a:t>
            </a:r>
            <a:br>
              <a:rPr lang="es-ES" dirty="0"/>
            </a:br>
            <a:r>
              <a:rPr lang="en-GB" dirty="0"/>
              <a:t>Western Balkan Platform </a:t>
            </a:r>
            <a:br>
              <a:rPr lang="en-GB" dirty="0"/>
            </a:br>
            <a:r>
              <a:rPr lang="en-GB" dirty="0"/>
              <a:t>on Education and Training  </a:t>
            </a:r>
          </a:p>
        </p:txBody>
      </p:sp>
      <p:pic>
        <p:nvPicPr>
          <p:cNvPr id="4099" name="Picture 3" descr="\\net1.cec.eu.int\EAC\C\C3\AFFAIRES INTERNATIONALES\Pays candidats-Balkans\Western Balkans Platform\2017 Ministerial - Belgrade\Photos\Group Picture\01.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30036" y="2525133"/>
            <a:ext cx="6043549" cy="374503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156811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37421" y="2654479"/>
            <a:ext cx="2477728" cy="3819832"/>
          </a:xfrm>
          <a:prstGeom prst="rect">
            <a:avLst/>
          </a:prstGeom>
          <a:solidFill>
            <a:srgbClr val="FFC000"/>
          </a:solidFill>
          <a:ln>
            <a:solidFill>
              <a:srgbClr val="FFC000"/>
            </a:solid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p:cNvSpPr/>
          <p:nvPr/>
        </p:nvSpPr>
        <p:spPr>
          <a:xfrm>
            <a:off x="3451462" y="2655648"/>
            <a:ext cx="2476800" cy="3819832"/>
          </a:xfrm>
          <a:prstGeom prst="rect">
            <a:avLst/>
          </a:prstGeom>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a:off x="6164574" y="2654479"/>
            <a:ext cx="2476800" cy="3819832"/>
          </a:xfrm>
          <a:prstGeom prst="rect">
            <a:avLst/>
          </a:prstGeom>
          <a:solidFill>
            <a:schemeClr val="accent2"/>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7"/>
          <p:cNvSpPr/>
          <p:nvPr/>
        </p:nvSpPr>
        <p:spPr>
          <a:xfrm>
            <a:off x="1269078" y="3914452"/>
            <a:ext cx="1443914" cy="649943"/>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Verdana" panose="020B0604030504040204" pitchFamily="34" charset="0"/>
                <a:ea typeface="Verdana" panose="020B0604030504040204" pitchFamily="34" charset="0"/>
              </a:rPr>
              <a:t>TIMSS &amp; PIRLS</a:t>
            </a:r>
          </a:p>
        </p:txBody>
      </p:sp>
      <p:sp>
        <p:nvSpPr>
          <p:cNvPr id="8" name="Rectangle 8"/>
          <p:cNvSpPr/>
          <p:nvPr/>
        </p:nvSpPr>
        <p:spPr>
          <a:xfrm>
            <a:off x="3926506" y="3914452"/>
            <a:ext cx="1443914" cy="317800"/>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Verdana" panose="020B0604030504040204" pitchFamily="34" charset="0"/>
                <a:ea typeface="Verdana" panose="020B0604030504040204" pitchFamily="34" charset="0"/>
              </a:rPr>
              <a:t>RYCO</a:t>
            </a:r>
          </a:p>
        </p:txBody>
      </p:sp>
      <p:sp>
        <p:nvSpPr>
          <p:cNvPr id="9" name="Rectangle 9"/>
          <p:cNvSpPr/>
          <p:nvPr/>
        </p:nvSpPr>
        <p:spPr>
          <a:xfrm>
            <a:off x="6575247" y="3924577"/>
            <a:ext cx="1707723" cy="986636"/>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Verdana" panose="020B0604030504040204" pitchFamily="34" charset="0"/>
                <a:ea typeface="Verdana" panose="020B0604030504040204" pitchFamily="34" charset="0"/>
              </a:rPr>
              <a:t>Young Civil Servants Scheme</a:t>
            </a:r>
          </a:p>
        </p:txBody>
      </p:sp>
      <p:sp>
        <p:nvSpPr>
          <p:cNvPr id="10" name="TextBox 11"/>
          <p:cNvSpPr txBox="1"/>
          <p:nvPr/>
        </p:nvSpPr>
        <p:spPr>
          <a:xfrm>
            <a:off x="1115406" y="4807538"/>
            <a:ext cx="1721757" cy="1215717"/>
          </a:xfrm>
          <a:prstGeom prst="rect">
            <a:avLst/>
          </a:prstGeom>
          <a:noFill/>
        </p:spPr>
        <p:txBody>
          <a:bodyPr wrap="square" rtlCol="0">
            <a:spAutoFit/>
          </a:bodyPr>
          <a:lstStyle/>
          <a:p>
            <a:pPr lvl="0">
              <a:lnSpc>
                <a:spcPct val="90000"/>
              </a:lnSpc>
              <a:spcBef>
                <a:spcPts val="252"/>
              </a:spcBef>
              <a:spcAft>
                <a:spcPts val="252"/>
              </a:spcAft>
              <a:defRPr/>
            </a:pPr>
            <a:r>
              <a:rPr lang="en-GB" sz="1400" dirty="0">
                <a:solidFill>
                  <a:schemeClr val="bg1"/>
                </a:solidFill>
              </a:rPr>
              <a:t>2019 – Science and Mathematics</a:t>
            </a:r>
          </a:p>
          <a:p>
            <a:pPr lvl="0">
              <a:lnSpc>
                <a:spcPct val="90000"/>
              </a:lnSpc>
              <a:spcBef>
                <a:spcPts val="252"/>
              </a:spcBef>
              <a:spcAft>
                <a:spcPts val="252"/>
              </a:spcAft>
              <a:defRPr/>
            </a:pPr>
            <a:r>
              <a:rPr lang="en-GB" sz="1400" kern="0" dirty="0">
                <a:solidFill>
                  <a:schemeClr val="bg1"/>
                </a:solidFill>
              </a:rPr>
              <a:t>2021 – Reading and literacy</a:t>
            </a:r>
            <a:endParaRPr lang="en-GB" sz="1400" dirty="0">
              <a:solidFill>
                <a:schemeClr val="bg1"/>
              </a:solidFill>
            </a:endParaRPr>
          </a:p>
          <a:p>
            <a:pPr lvl="0">
              <a:lnSpc>
                <a:spcPct val="90000"/>
              </a:lnSpc>
              <a:spcBef>
                <a:spcPts val="252"/>
              </a:spcBef>
              <a:spcAft>
                <a:spcPts val="252"/>
              </a:spcAft>
              <a:defRPr/>
            </a:pPr>
            <a:r>
              <a:rPr lang="en-GB" sz="1400" kern="0" dirty="0">
                <a:solidFill>
                  <a:schemeClr val="bg1"/>
                </a:solidFill>
              </a:rPr>
              <a:t>IEA</a:t>
            </a:r>
          </a:p>
        </p:txBody>
      </p:sp>
      <p:sp>
        <p:nvSpPr>
          <p:cNvPr id="11" name="TextBox 12"/>
          <p:cNvSpPr txBox="1"/>
          <p:nvPr/>
        </p:nvSpPr>
        <p:spPr>
          <a:xfrm>
            <a:off x="3833917" y="4564395"/>
            <a:ext cx="1696525" cy="1264962"/>
          </a:xfrm>
          <a:prstGeom prst="rect">
            <a:avLst/>
          </a:prstGeom>
          <a:noFill/>
        </p:spPr>
        <p:txBody>
          <a:bodyPr wrap="square" rtlCol="0">
            <a:spAutoFit/>
          </a:bodyPr>
          <a:lstStyle/>
          <a:p>
            <a:pPr lvl="0">
              <a:lnSpc>
                <a:spcPct val="90000"/>
              </a:lnSpc>
              <a:spcBef>
                <a:spcPts val="252"/>
              </a:spcBef>
              <a:spcAft>
                <a:spcPts val="252"/>
              </a:spcAft>
              <a:defRPr/>
            </a:pPr>
            <a:r>
              <a:rPr lang="en-GB" sz="1400" dirty="0">
                <a:solidFill>
                  <a:schemeClr val="bg1"/>
                </a:solidFill>
              </a:rPr>
              <a:t>Berlin-Process</a:t>
            </a:r>
          </a:p>
          <a:p>
            <a:pPr lvl="0">
              <a:lnSpc>
                <a:spcPct val="90000"/>
              </a:lnSpc>
              <a:spcBef>
                <a:spcPts val="252"/>
              </a:spcBef>
              <a:spcAft>
                <a:spcPts val="252"/>
              </a:spcAft>
              <a:defRPr/>
            </a:pPr>
            <a:r>
              <a:rPr lang="en-GB" sz="1400" dirty="0">
                <a:solidFill>
                  <a:schemeClr val="bg1"/>
                </a:solidFill>
              </a:rPr>
              <a:t>Mobility and reconciliation</a:t>
            </a:r>
          </a:p>
          <a:p>
            <a:pPr lvl="0">
              <a:lnSpc>
                <a:spcPct val="90000"/>
              </a:lnSpc>
              <a:spcBef>
                <a:spcPts val="252"/>
              </a:spcBef>
              <a:spcAft>
                <a:spcPts val="252"/>
              </a:spcAft>
              <a:defRPr/>
            </a:pPr>
            <a:r>
              <a:rPr lang="en-GB" sz="1400" dirty="0">
                <a:solidFill>
                  <a:schemeClr val="bg1"/>
                </a:solidFill>
              </a:rPr>
              <a:t>1st call 0.5 m €</a:t>
            </a:r>
            <a:endParaRPr lang="en-GB" sz="1400" kern="0" dirty="0">
              <a:solidFill>
                <a:schemeClr val="bg1"/>
              </a:solidFill>
            </a:endParaRPr>
          </a:p>
          <a:p>
            <a:pPr algn="ctr">
              <a:lnSpc>
                <a:spcPct val="90000"/>
              </a:lnSpc>
              <a:spcBef>
                <a:spcPts val="252"/>
              </a:spcBef>
              <a:spcAft>
                <a:spcPts val="252"/>
              </a:spcAft>
              <a:defRPr/>
            </a:pPr>
            <a:endParaRPr lang="en-US" sz="1200" kern="0" dirty="0">
              <a:solidFill>
                <a:schemeClr val="bg1"/>
              </a:solidFill>
            </a:endParaRPr>
          </a:p>
        </p:txBody>
      </p:sp>
      <p:sp>
        <p:nvSpPr>
          <p:cNvPr id="12" name="TextBox 13"/>
          <p:cNvSpPr txBox="1"/>
          <p:nvPr/>
        </p:nvSpPr>
        <p:spPr>
          <a:xfrm>
            <a:off x="6520815" y="5070933"/>
            <a:ext cx="1816585" cy="1215717"/>
          </a:xfrm>
          <a:prstGeom prst="rect">
            <a:avLst/>
          </a:prstGeom>
          <a:noFill/>
        </p:spPr>
        <p:txBody>
          <a:bodyPr wrap="square" rtlCol="0">
            <a:spAutoFit/>
          </a:bodyPr>
          <a:lstStyle/>
          <a:p>
            <a:pPr lvl="0">
              <a:lnSpc>
                <a:spcPct val="90000"/>
              </a:lnSpc>
              <a:spcBef>
                <a:spcPts val="252"/>
              </a:spcBef>
              <a:spcAft>
                <a:spcPts val="252"/>
              </a:spcAft>
              <a:defRPr/>
            </a:pPr>
            <a:r>
              <a:rPr lang="es-ES" sz="1400" kern="0" dirty="0">
                <a:solidFill>
                  <a:schemeClr val="bg1"/>
                </a:solidFill>
              </a:rPr>
              <a:t>2nd </a:t>
            </a:r>
            <a:r>
              <a:rPr lang="es-ES" sz="1400" kern="0" dirty="0" err="1">
                <a:solidFill>
                  <a:schemeClr val="bg1"/>
                </a:solidFill>
              </a:rPr>
              <a:t>call</a:t>
            </a:r>
            <a:endParaRPr lang="es-ES" sz="1400" kern="0" dirty="0">
              <a:solidFill>
                <a:schemeClr val="bg1"/>
              </a:solidFill>
            </a:endParaRPr>
          </a:p>
          <a:p>
            <a:pPr lvl="0">
              <a:lnSpc>
                <a:spcPct val="90000"/>
              </a:lnSpc>
              <a:spcBef>
                <a:spcPts val="252"/>
              </a:spcBef>
              <a:spcAft>
                <a:spcPts val="252"/>
              </a:spcAft>
              <a:defRPr/>
            </a:pPr>
            <a:r>
              <a:rPr lang="es-ES" sz="1400" dirty="0">
                <a:solidFill>
                  <a:schemeClr val="bg1"/>
                </a:solidFill>
              </a:rPr>
              <a:t>15 civil </a:t>
            </a:r>
            <a:r>
              <a:rPr lang="es-ES" sz="1400" dirty="0" err="1">
                <a:solidFill>
                  <a:schemeClr val="bg1"/>
                </a:solidFill>
              </a:rPr>
              <a:t>servants</a:t>
            </a:r>
            <a:endParaRPr lang="es-ES" sz="1400" dirty="0">
              <a:solidFill>
                <a:schemeClr val="bg1"/>
              </a:solidFill>
            </a:endParaRPr>
          </a:p>
          <a:p>
            <a:pPr lvl="0">
              <a:lnSpc>
                <a:spcPct val="90000"/>
              </a:lnSpc>
              <a:spcBef>
                <a:spcPts val="252"/>
              </a:spcBef>
              <a:spcAft>
                <a:spcPts val="252"/>
              </a:spcAft>
              <a:defRPr/>
            </a:pPr>
            <a:r>
              <a:rPr lang="es-ES" sz="1400" dirty="0">
                <a:solidFill>
                  <a:schemeClr val="bg1"/>
                </a:solidFill>
              </a:rPr>
              <a:t>5 </a:t>
            </a:r>
            <a:r>
              <a:rPr lang="es-ES" sz="1400" dirty="0" err="1">
                <a:solidFill>
                  <a:schemeClr val="bg1"/>
                </a:solidFill>
              </a:rPr>
              <a:t>months</a:t>
            </a:r>
            <a:r>
              <a:rPr lang="es-ES" sz="1400" dirty="0">
                <a:solidFill>
                  <a:schemeClr val="bg1"/>
                </a:solidFill>
              </a:rPr>
              <a:t> training </a:t>
            </a:r>
            <a:r>
              <a:rPr lang="es-ES" sz="1400" dirty="0" err="1">
                <a:solidFill>
                  <a:schemeClr val="bg1"/>
                </a:solidFill>
              </a:rPr>
              <a:t>Ecole</a:t>
            </a:r>
            <a:r>
              <a:rPr lang="es-ES" sz="1400" dirty="0">
                <a:solidFill>
                  <a:schemeClr val="bg1"/>
                </a:solidFill>
              </a:rPr>
              <a:t> </a:t>
            </a:r>
            <a:r>
              <a:rPr lang="es-ES" sz="1400" dirty="0" err="1">
                <a:solidFill>
                  <a:schemeClr val="bg1"/>
                </a:solidFill>
              </a:rPr>
              <a:t>Nationale</a:t>
            </a:r>
            <a:r>
              <a:rPr lang="es-ES" sz="1400" dirty="0">
                <a:solidFill>
                  <a:schemeClr val="bg1"/>
                </a:solidFill>
              </a:rPr>
              <a:t> </a:t>
            </a:r>
            <a:r>
              <a:rPr lang="es-ES" sz="1400" dirty="0" err="1">
                <a:solidFill>
                  <a:schemeClr val="bg1"/>
                </a:solidFill>
              </a:rPr>
              <a:t>d’Administration</a:t>
            </a:r>
            <a:endParaRPr lang="es-ES" sz="1400" dirty="0">
              <a:solidFill>
                <a:schemeClr val="bg1"/>
              </a:solidFill>
            </a:endParaRPr>
          </a:p>
        </p:txBody>
      </p:sp>
      <p:sp>
        <p:nvSpPr>
          <p:cNvPr id="37" name="Title 1"/>
          <p:cNvSpPr>
            <a:spLocks noGrp="1"/>
          </p:cNvSpPr>
          <p:nvPr>
            <p:ph type="title"/>
          </p:nvPr>
        </p:nvSpPr>
        <p:spPr>
          <a:xfrm>
            <a:off x="395288" y="1339850"/>
            <a:ext cx="8229601" cy="936625"/>
          </a:xfrm>
        </p:spPr>
        <p:txBody>
          <a:bodyPr/>
          <a:lstStyle/>
          <a:p>
            <a:r>
              <a:rPr lang="es-ES" dirty="0" err="1"/>
              <a:t>Other</a:t>
            </a:r>
            <a:r>
              <a:rPr lang="es-ES" dirty="0"/>
              <a:t> </a:t>
            </a:r>
            <a:r>
              <a:rPr lang="es-ES" dirty="0" err="1"/>
              <a:t>initiatives</a:t>
            </a:r>
            <a:endParaRPr lang="es-ES" dirty="0"/>
          </a:p>
        </p:txBody>
      </p:sp>
      <p:pic>
        <p:nvPicPr>
          <p:cNvPr id="38" name="Picture 5"/>
          <p:cNvPicPr>
            <a:picLocks noChangeAspect="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1707293" y="2825437"/>
            <a:ext cx="711874" cy="738202"/>
          </a:xfrm>
          <a:prstGeom prst="rect">
            <a:avLst/>
          </a:prstGeom>
        </p:spPr>
      </p:pic>
      <p:grpSp>
        <p:nvGrpSpPr>
          <p:cNvPr id="39" name="POWER_USER_ID_ICONS_Plane"/>
          <p:cNvGrpSpPr>
            <a:grpSpLocks noChangeAspect="1"/>
          </p:cNvGrpSpPr>
          <p:nvPr>
            <p:custDataLst>
              <p:tags r:id="rId1"/>
            </p:custDataLst>
          </p:nvPr>
        </p:nvGrpSpPr>
        <p:grpSpPr bwMode="auto">
          <a:xfrm>
            <a:off x="7109487" y="2870906"/>
            <a:ext cx="650481" cy="692733"/>
            <a:chOff x="2478" y="664"/>
            <a:chExt cx="2648" cy="2820"/>
          </a:xfrm>
          <a:solidFill>
            <a:schemeClr val="bg1"/>
          </a:solidFill>
        </p:grpSpPr>
        <p:sp>
          <p:nvSpPr>
            <p:cNvPr id="40" name="Freeform 487"/>
            <p:cNvSpPr>
              <a:spLocks/>
            </p:cNvSpPr>
            <p:nvPr/>
          </p:nvSpPr>
          <p:spPr bwMode="auto">
            <a:xfrm>
              <a:off x="2478" y="2188"/>
              <a:ext cx="0" cy="31"/>
            </a:xfrm>
            <a:custGeom>
              <a:avLst/>
              <a:gdLst>
                <a:gd name="T0" fmla="*/ 0 h 8"/>
                <a:gd name="T1" fmla="*/ 8 h 8"/>
                <a:gd name="T2" fmla="*/ 6 h 8"/>
                <a:gd name="T3" fmla="*/ 0 h 8"/>
              </a:gdLst>
              <a:ahLst/>
              <a:cxnLst>
                <a:cxn ang="0">
                  <a:pos x="0" y="T0"/>
                </a:cxn>
                <a:cxn ang="0">
                  <a:pos x="0" y="T1"/>
                </a:cxn>
                <a:cxn ang="0">
                  <a:pos x="0" y="T2"/>
                </a:cxn>
                <a:cxn ang="0">
                  <a:pos x="0" y="T3"/>
                </a:cxn>
              </a:cxnLst>
              <a:rect l="0" t="0" r="r" b="b"/>
              <a:pathLst>
                <a:path h="8">
                  <a:moveTo>
                    <a:pt x="0" y="0"/>
                  </a:moveTo>
                  <a:lnTo>
                    <a:pt x="0" y="8"/>
                  </a:lnTo>
                  <a:cubicBezTo>
                    <a:pt x="0" y="7"/>
                    <a:pt x="0" y="7"/>
                    <a:pt x="0" y="6"/>
                  </a:cubicBezTo>
                  <a:cubicBezTo>
                    <a:pt x="0" y="4"/>
                    <a:pt x="0" y="2"/>
                    <a:pt x="0" y="0"/>
                  </a:cubicBezTo>
                  <a:close/>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1" name="Freeform 488"/>
            <p:cNvSpPr>
              <a:spLocks/>
            </p:cNvSpPr>
            <p:nvPr/>
          </p:nvSpPr>
          <p:spPr bwMode="auto">
            <a:xfrm>
              <a:off x="2478" y="664"/>
              <a:ext cx="2648" cy="2820"/>
            </a:xfrm>
            <a:custGeom>
              <a:avLst/>
              <a:gdLst>
                <a:gd name="T0" fmla="*/ 533 w 667"/>
                <a:gd name="T1" fmla="*/ 279 h 709"/>
                <a:gd name="T2" fmla="*/ 500 w 667"/>
                <a:gd name="T3" fmla="*/ 233 h 709"/>
                <a:gd name="T4" fmla="*/ 396 w 667"/>
                <a:gd name="T5" fmla="*/ 213 h 709"/>
                <a:gd name="T6" fmla="*/ 379 w 667"/>
                <a:gd name="T7" fmla="*/ 49 h 709"/>
                <a:gd name="T8" fmla="*/ 373 w 667"/>
                <a:gd name="T9" fmla="*/ 40 h 709"/>
                <a:gd name="T10" fmla="*/ 368 w 667"/>
                <a:gd name="T11" fmla="*/ 31 h 709"/>
                <a:gd name="T12" fmla="*/ 363 w 667"/>
                <a:gd name="T13" fmla="*/ 23 h 709"/>
                <a:gd name="T14" fmla="*/ 357 w 667"/>
                <a:gd name="T15" fmla="*/ 16 h 709"/>
                <a:gd name="T16" fmla="*/ 352 w 667"/>
                <a:gd name="T17" fmla="*/ 10 h 709"/>
                <a:gd name="T18" fmla="*/ 346 w 667"/>
                <a:gd name="T19" fmla="*/ 5 h 709"/>
                <a:gd name="T20" fmla="*/ 340 w 667"/>
                <a:gd name="T21" fmla="*/ 2 h 709"/>
                <a:gd name="T22" fmla="*/ 333 w 667"/>
                <a:gd name="T23" fmla="*/ 0 h 709"/>
                <a:gd name="T24" fmla="*/ 326 w 667"/>
                <a:gd name="T25" fmla="*/ 2 h 709"/>
                <a:gd name="T26" fmla="*/ 320 w 667"/>
                <a:gd name="T27" fmla="*/ 5 h 709"/>
                <a:gd name="T28" fmla="*/ 315 w 667"/>
                <a:gd name="T29" fmla="*/ 10 h 709"/>
                <a:gd name="T30" fmla="*/ 309 w 667"/>
                <a:gd name="T31" fmla="*/ 16 h 709"/>
                <a:gd name="T32" fmla="*/ 304 w 667"/>
                <a:gd name="T33" fmla="*/ 23 h 709"/>
                <a:gd name="T34" fmla="*/ 298 w 667"/>
                <a:gd name="T35" fmla="*/ 31 h 709"/>
                <a:gd name="T36" fmla="*/ 293 w 667"/>
                <a:gd name="T37" fmla="*/ 40 h 709"/>
                <a:gd name="T38" fmla="*/ 288 w 667"/>
                <a:gd name="T39" fmla="*/ 49 h 709"/>
                <a:gd name="T40" fmla="*/ 270 w 667"/>
                <a:gd name="T41" fmla="*/ 213 h 709"/>
                <a:gd name="T42" fmla="*/ 167 w 667"/>
                <a:gd name="T43" fmla="*/ 233 h 709"/>
                <a:gd name="T44" fmla="*/ 133 w 667"/>
                <a:gd name="T45" fmla="*/ 278 h 709"/>
                <a:gd name="T46" fmla="*/ 0 w 667"/>
                <a:gd name="T47" fmla="*/ 389 h 709"/>
                <a:gd name="T48" fmla="*/ 0 w 667"/>
                <a:gd name="T49" fmla="*/ 400 h 709"/>
                <a:gd name="T50" fmla="*/ 0 w 667"/>
                <a:gd name="T51" fmla="*/ 433 h 709"/>
                <a:gd name="T52" fmla="*/ 67 w 667"/>
                <a:gd name="T53" fmla="*/ 433 h 709"/>
                <a:gd name="T54" fmla="*/ 276 w 667"/>
                <a:gd name="T55" fmla="*/ 359 h 709"/>
                <a:gd name="T56" fmla="*/ 150 w 667"/>
                <a:gd name="T57" fmla="*/ 614 h 709"/>
                <a:gd name="T58" fmla="*/ 167 w 667"/>
                <a:gd name="T59" fmla="*/ 698 h 709"/>
                <a:gd name="T60" fmla="*/ 300 w 667"/>
                <a:gd name="T61" fmla="*/ 650 h 709"/>
                <a:gd name="T62" fmla="*/ 367 w 667"/>
                <a:gd name="T63" fmla="*/ 650 h 709"/>
                <a:gd name="T64" fmla="*/ 500 w 667"/>
                <a:gd name="T65" fmla="*/ 698 h 709"/>
                <a:gd name="T66" fmla="*/ 517 w 667"/>
                <a:gd name="T67" fmla="*/ 614 h 709"/>
                <a:gd name="T68" fmla="*/ 391 w 667"/>
                <a:gd name="T69" fmla="*/ 359 h 709"/>
                <a:gd name="T70" fmla="*/ 600 w 667"/>
                <a:gd name="T71" fmla="*/ 433 h 709"/>
                <a:gd name="T72" fmla="*/ 667 w 667"/>
                <a:gd name="T73" fmla="*/ 433 h 709"/>
                <a:gd name="T74" fmla="*/ 667 w 667"/>
                <a:gd name="T75" fmla="*/ 400 h 709"/>
                <a:gd name="T76" fmla="*/ 667 w 667"/>
                <a:gd name="T77" fmla="*/ 389 h 709"/>
                <a:gd name="T78" fmla="*/ 667 w 667"/>
                <a:gd name="T79" fmla="*/ 383 h 709"/>
                <a:gd name="T80" fmla="*/ 637 w 667"/>
                <a:gd name="T81" fmla="*/ 32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67" h="709">
                  <a:moveTo>
                    <a:pt x="637" y="328"/>
                  </a:moveTo>
                  <a:lnTo>
                    <a:pt x="533" y="279"/>
                  </a:lnTo>
                  <a:lnTo>
                    <a:pt x="533" y="266"/>
                  </a:lnTo>
                  <a:cubicBezTo>
                    <a:pt x="533" y="248"/>
                    <a:pt x="518" y="233"/>
                    <a:pt x="500" y="233"/>
                  </a:cubicBezTo>
                  <a:cubicBezTo>
                    <a:pt x="488" y="233"/>
                    <a:pt x="477" y="239"/>
                    <a:pt x="472" y="249"/>
                  </a:cubicBezTo>
                  <a:lnTo>
                    <a:pt x="396" y="213"/>
                  </a:lnTo>
                  <a:lnTo>
                    <a:pt x="400" y="112"/>
                  </a:lnTo>
                  <a:cubicBezTo>
                    <a:pt x="400" y="100"/>
                    <a:pt x="391" y="73"/>
                    <a:pt x="379" y="49"/>
                  </a:cubicBezTo>
                  <a:lnTo>
                    <a:pt x="379" y="49"/>
                  </a:lnTo>
                  <a:cubicBezTo>
                    <a:pt x="377" y="46"/>
                    <a:pt x="375" y="43"/>
                    <a:pt x="373" y="40"/>
                  </a:cubicBezTo>
                  <a:cubicBezTo>
                    <a:pt x="373" y="40"/>
                    <a:pt x="373" y="40"/>
                    <a:pt x="373" y="39"/>
                  </a:cubicBezTo>
                  <a:cubicBezTo>
                    <a:pt x="372" y="37"/>
                    <a:pt x="370" y="34"/>
                    <a:pt x="368" y="31"/>
                  </a:cubicBezTo>
                  <a:cubicBezTo>
                    <a:pt x="368" y="31"/>
                    <a:pt x="368" y="30"/>
                    <a:pt x="368" y="30"/>
                  </a:cubicBezTo>
                  <a:cubicBezTo>
                    <a:pt x="366" y="28"/>
                    <a:pt x="364" y="25"/>
                    <a:pt x="363" y="23"/>
                  </a:cubicBezTo>
                  <a:cubicBezTo>
                    <a:pt x="363" y="23"/>
                    <a:pt x="362" y="22"/>
                    <a:pt x="362" y="22"/>
                  </a:cubicBezTo>
                  <a:cubicBezTo>
                    <a:pt x="360" y="20"/>
                    <a:pt x="359" y="18"/>
                    <a:pt x="357" y="16"/>
                  </a:cubicBezTo>
                  <a:cubicBezTo>
                    <a:pt x="357" y="15"/>
                    <a:pt x="356" y="15"/>
                    <a:pt x="356" y="14"/>
                  </a:cubicBezTo>
                  <a:cubicBezTo>
                    <a:pt x="355" y="13"/>
                    <a:pt x="353" y="11"/>
                    <a:pt x="352" y="10"/>
                  </a:cubicBezTo>
                  <a:cubicBezTo>
                    <a:pt x="351" y="9"/>
                    <a:pt x="351" y="9"/>
                    <a:pt x="350" y="8"/>
                  </a:cubicBezTo>
                  <a:cubicBezTo>
                    <a:pt x="349" y="7"/>
                    <a:pt x="348" y="6"/>
                    <a:pt x="346" y="5"/>
                  </a:cubicBezTo>
                  <a:cubicBezTo>
                    <a:pt x="346" y="5"/>
                    <a:pt x="345" y="4"/>
                    <a:pt x="344" y="4"/>
                  </a:cubicBezTo>
                  <a:cubicBezTo>
                    <a:pt x="343" y="3"/>
                    <a:pt x="342" y="2"/>
                    <a:pt x="340" y="2"/>
                  </a:cubicBezTo>
                  <a:cubicBezTo>
                    <a:pt x="340" y="1"/>
                    <a:pt x="339" y="1"/>
                    <a:pt x="339" y="1"/>
                  </a:cubicBezTo>
                  <a:cubicBezTo>
                    <a:pt x="337" y="0"/>
                    <a:pt x="335" y="0"/>
                    <a:pt x="333" y="0"/>
                  </a:cubicBezTo>
                  <a:cubicBezTo>
                    <a:pt x="332" y="0"/>
                    <a:pt x="330" y="0"/>
                    <a:pt x="328" y="1"/>
                  </a:cubicBezTo>
                  <a:cubicBezTo>
                    <a:pt x="327" y="1"/>
                    <a:pt x="327" y="1"/>
                    <a:pt x="326" y="2"/>
                  </a:cubicBezTo>
                  <a:cubicBezTo>
                    <a:pt x="325" y="2"/>
                    <a:pt x="324" y="3"/>
                    <a:pt x="322" y="4"/>
                  </a:cubicBezTo>
                  <a:cubicBezTo>
                    <a:pt x="322" y="4"/>
                    <a:pt x="321" y="5"/>
                    <a:pt x="320" y="5"/>
                  </a:cubicBezTo>
                  <a:cubicBezTo>
                    <a:pt x="319" y="6"/>
                    <a:pt x="318" y="7"/>
                    <a:pt x="316" y="8"/>
                  </a:cubicBezTo>
                  <a:cubicBezTo>
                    <a:pt x="316" y="9"/>
                    <a:pt x="315" y="9"/>
                    <a:pt x="315" y="10"/>
                  </a:cubicBezTo>
                  <a:cubicBezTo>
                    <a:pt x="313" y="11"/>
                    <a:pt x="312" y="13"/>
                    <a:pt x="311" y="14"/>
                  </a:cubicBezTo>
                  <a:cubicBezTo>
                    <a:pt x="310" y="15"/>
                    <a:pt x="310" y="15"/>
                    <a:pt x="309" y="16"/>
                  </a:cubicBezTo>
                  <a:cubicBezTo>
                    <a:pt x="308" y="18"/>
                    <a:pt x="306" y="20"/>
                    <a:pt x="305" y="22"/>
                  </a:cubicBezTo>
                  <a:cubicBezTo>
                    <a:pt x="304" y="22"/>
                    <a:pt x="304" y="23"/>
                    <a:pt x="304" y="23"/>
                  </a:cubicBezTo>
                  <a:cubicBezTo>
                    <a:pt x="302" y="25"/>
                    <a:pt x="301" y="28"/>
                    <a:pt x="299" y="30"/>
                  </a:cubicBezTo>
                  <a:cubicBezTo>
                    <a:pt x="299" y="30"/>
                    <a:pt x="299" y="31"/>
                    <a:pt x="298" y="31"/>
                  </a:cubicBezTo>
                  <a:cubicBezTo>
                    <a:pt x="297" y="34"/>
                    <a:pt x="295" y="37"/>
                    <a:pt x="293" y="39"/>
                  </a:cubicBezTo>
                  <a:cubicBezTo>
                    <a:pt x="293" y="40"/>
                    <a:pt x="293" y="40"/>
                    <a:pt x="293" y="40"/>
                  </a:cubicBezTo>
                  <a:cubicBezTo>
                    <a:pt x="291" y="43"/>
                    <a:pt x="290" y="46"/>
                    <a:pt x="288" y="49"/>
                  </a:cubicBezTo>
                  <a:lnTo>
                    <a:pt x="288" y="49"/>
                  </a:lnTo>
                  <a:cubicBezTo>
                    <a:pt x="276" y="73"/>
                    <a:pt x="267" y="100"/>
                    <a:pt x="267" y="112"/>
                  </a:cubicBezTo>
                  <a:lnTo>
                    <a:pt x="270" y="213"/>
                  </a:lnTo>
                  <a:lnTo>
                    <a:pt x="195" y="249"/>
                  </a:lnTo>
                  <a:cubicBezTo>
                    <a:pt x="189" y="239"/>
                    <a:pt x="179" y="233"/>
                    <a:pt x="167" y="233"/>
                  </a:cubicBezTo>
                  <a:cubicBezTo>
                    <a:pt x="148" y="233"/>
                    <a:pt x="133" y="248"/>
                    <a:pt x="133" y="266"/>
                  </a:cubicBezTo>
                  <a:lnTo>
                    <a:pt x="133" y="278"/>
                  </a:lnTo>
                  <a:lnTo>
                    <a:pt x="29" y="328"/>
                  </a:lnTo>
                  <a:cubicBezTo>
                    <a:pt x="3" y="344"/>
                    <a:pt x="0" y="363"/>
                    <a:pt x="0" y="389"/>
                  </a:cubicBezTo>
                  <a:cubicBezTo>
                    <a:pt x="0" y="392"/>
                    <a:pt x="0" y="394"/>
                    <a:pt x="0" y="397"/>
                  </a:cubicBezTo>
                  <a:cubicBezTo>
                    <a:pt x="0" y="398"/>
                    <a:pt x="0" y="399"/>
                    <a:pt x="0" y="400"/>
                  </a:cubicBezTo>
                  <a:lnTo>
                    <a:pt x="0" y="403"/>
                  </a:lnTo>
                  <a:lnTo>
                    <a:pt x="0" y="433"/>
                  </a:lnTo>
                  <a:cubicBezTo>
                    <a:pt x="0" y="451"/>
                    <a:pt x="15" y="466"/>
                    <a:pt x="33" y="466"/>
                  </a:cubicBezTo>
                  <a:cubicBezTo>
                    <a:pt x="52" y="466"/>
                    <a:pt x="67" y="451"/>
                    <a:pt x="67" y="433"/>
                  </a:cubicBezTo>
                  <a:lnTo>
                    <a:pt x="67" y="418"/>
                  </a:lnTo>
                  <a:lnTo>
                    <a:pt x="276" y="359"/>
                  </a:lnTo>
                  <a:lnTo>
                    <a:pt x="282" y="531"/>
                  </a:lnTo>
                  <a:lnTo>
                    <a:pt x="150" y="614"/>
                  </a:lnTo>
                  <a:cubicBezTo>
                    <a:pt x="131" y="629"/>
                    <a:pt x="133" y="652"/>
                    <a:pt x="133" y="679"/>
                  </a:cubicBezTo>
                  <a:cubicBezTo>
                    <a:pt x="133" y="679"/>
                    <a:pt x="137" y="709"/>
                    <a:pt x="167" y="698"/>
                  </a:cubicBezTo>
                  <a:lnTo>
                    <a:pt x="300" y="646"/>
                  </a:lnTo>
                  <a:lnTo>
                    <a:pt x="300" y="650"/>
                  </a:lnTo>
                  <a:cubicBezTo>
                    <a:pt x="300" y="668"/>
                    <a:pt x="315" y="683"/>
                    <a:pt x="333" y="683"/>
                  </a:cubicBezTo>
                  <a:cubicBezTo>
                    <a:pt x="352" y="683"/>
                    <a:pt x="367" y="668"/>
                    <a:pt x="367" y="650"/>
                  </a:cubicBezTo>
                  <a:lnTo>
                    <a:pt x="367" y="646"/>
                  </a:lnTo>
                  <a:lnTo>
                    <a:pt x="500" y="698"/>
                  </a:lnTo>
                  <a:cubicBezTo>
                    <a:pt x="530" y="709"/>
                    <a:pt x="533" y="679"/>
                    <a:pt x="533" y="679"/>
                  </a:cubicBezTo>
                  <a:cubicBezTo>
                    <a:pt x="533" y="652"/>
                    <a:pt x="536" y="629"/>
                    <a:pt x="517" y="614"/>
                  </a:cubicBezTo>
                  <a:lnTo>
                    <a:pt x="384" y="531"/>
                  </a:lnTo>
                  <a:lnTo>
                    <a:pt x="391" y="359"/>
                  </a:lnTo>
                  <a:lnTo>
                    <a:pt x="600" y="418"/>
                  </a:lnTo>
                  <a:lnTo>
                    <a:pt x="600" y="433"/>
                  </a:lnTo>
                  <a:cubicBezTo>
                    <a:pt x="600" y="451"/>
                    <a:pt x="615" y="466"/>
                    <a:pt x="633" y="466"/>
                  </a:cubicBezTo>
                  <a:cubicBezTo>
                    <a:pt x="652" y="466"/>
                    <a:pt x="667" y="451"/>
                    <a:pt x="667" y="433"/>
                  </a:cubicBezTo>
                  <a:lnTo>
                    <a:pt x="667" y="403"/>
                  </a:lnTo>
                  <a:lnTo>
                    <a:pt x="667" y="400"/>
                  </a:lnTo>
                  <a:cubicBezTo>
                    <a:pt x="667" y="399"/>
                    <a:pt x="666" y="398"/>
                    <a:pt x="666" y="397"/>
                  </a:cubicBezTo>
                  <a:cubicBezTo>
                    <a:pt x="667" y="394"/>
                    <a:pt x="667" y="392"/>
                    <a:pt x="667" y="389"/>
                  </a:cubicBezTo>
                  <a:cubicBezTo>
                    <a:pt x="667" y="390"/>
                    <a:pt x="667" y="390"/>
                    <a:pt x="667" y="391"/>
                  </a:cubicBezTo>
                  <a:lnTo>
                    <a:pt x="667" y="383"/>
                  </a:lnTo>
                  <a:cubicBezTo>
                    <a:pt x="667" y="385"/>
                    <a:pt x="667" y="387"/>
                    <a:pt x="667" y="389"/>
                  </a:cubicBezTo>
                  <a:cubicBezTo>
                    <a:pt x="666" y="363"/>
                    <a:pt x="664" y="344"/>
                    <a:pt x="637" y="328"/>
                  </a:cubicBez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2" name="Freeform 490"/>
            <p:cNvSpPr>
              <a:spLocks/>
            </p:cNvSpPr>
            <p:nvPr/>
          </p:nvSpPr>
          <p:spPr bwMode="auto">
            <a:xfrm>
              <a:off x="5122" y="2211"/>
              <a:ext cx="4" cy="44"/>
            </a:xfrm>
            <a:custGeom>
              <a:avLst/>
              <a:gdLst>
                <a:gd name="T0" fmla="*/ 0 w 1"/>
                <a:gd name="T1" fmla="*/ 8 h 11"/>
                <a:gd name="T2" fmla="*/ 1 w 1"/>
                <a:gd name="T3" fmla="*/ 11 h 11"/>
                <a:gd name="T4" fmla="*/ 1 w 1"/>
                <a:gd name="T5" fmla="*/ 2 h 11"/>
                <a:gd name="T6" fmla="*/ 1 w 1"/>
                <a:gd name="T7" fmla="*/ 0 h 11"/>
                <a:gd name="T8" fmla="*/ 0 w 1"/>
                <a:gd name="T9" fmla="*/ 8 h 11"/>
              </a:gdLst>
              <a:ahLst/>
              <a:cxnLst>
                <a:cxn ang="0">
                  <a:pos x="T0" y="T1"/>
                </a:cxn>
                <a:cxn ang="0">
                  <a:pos x="T2" y="T3"/>
                </a:cxn>
                <a:cxn ang="0">
                  <a:pos x="T4" y="T5"/>
                </a:cxn>
                <a:cxn ang="0">
                  <a:pos x="T6" y="T7"/>
                </a:cxn>
                <a:cxn ang="0">
                  <a:pos x="T8" y="T9"/>
                </a:cxn>
              </a:cxnLst>
              <a:rect l="0" t="0" r="r" b="b"/>
              <a:pathLst>
                <a:path w="1" h="11">
                  <a:moveTo>
                    <a:pt x="0" y="8"/>
                  </a:moveTo>
                  <a:cubicBezTo>
                    <a:pt x="0" y="9"/>
                    <a:pt x="1" y="10"/>
                    <a:pt x="1" y="11"/>
                  </a:cubicBezTo>
                  <a:cubicBezTo>
                    <a:pt x="1" y="8"/>
                    <a:pt x="1" y="5"/>
                    <a:pt x="1" y="2"/>
                  </a:cubicBezTo>
                  <a:cubicBezTo>
                    <a:pt x="1" y="1"/>
                    <a:pt x="1" y="1"/>
                    <a:pt x="1" y="0"/>
                  </a:cubicBezTo>
                  <a:cubicBezTo>
                    <a:pt x="1" y="3"/>
                    <a:pt x="1" y="5"/>
                    <a:pt x="0" y="8"/>
                  </a:cubicBez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43" name="Freeform 491"/>
            <p:cNvSpPr>
              <a:spLocks/>
            </p:cNvSpPr>
            <p:nvPr/>
          </p:nvSpPr>
          <p:spPr bwMode="auto">
            <a:xfrm>
              <a:off x="2478" y="2211"/>
              <a:ext cx="0" cy="44"/>
            </a:xfrm>
            <a:custGeom>
              <a:avLst/>
              <a:gdLst>
                <a:gd name="T0" fmla="*/ 0 h 11"/>
                <a:gd name="T1" fmla="*/ 2 h 11"/>
                <a:gd name="T2" fmla="*/ 11 h 11"/>
                <a:gd name="T3" fmla="*/ 8 h 11"/>
                <a:gd name="T4" fmla="*/ 0 h 11"/>
              </a:gdLst>
              <a:ahLst/>
              <a:cxnLst>
                <a:cxn ang="0">
                  <a:pos x="0" y="T0"/>
                </a:cxn>
                <a:cxn ang="0">
                  <a:pos x="0" y="T1"/>
                </a:cxn>
                <a:cxn ang="0">
                  <a:pos x="0" y="T2"/>
                </a:cxn>
                <a:cxn ang="0">
                  <a:pos x="0" y="T3"/>
                </a:cxn>
                <a:cxn ang="0">
                  <a:pos x="0" y="T4"/>
                </a:cxn>
              </a:cxnLst>
              <a:rect l="0" t="0" r="r" b="b"/>
              <a:pathLst>
                <a:path h="11">
                  <a:moveTo>
                    <a:pt x="0" y="0"/>
                  </a:moveTo>
                  <a:cubicBezTo>
                    <a:pt x="0" y="1"/>
                    <a:pt x="0" y="1"/>
                    <a:pt x="0" y="2"/>
                  </a:cubicBezTo>
                  <a:cubicBezTo>
                    <a:pt x="0" y="5"/>
                    <a:pt x="0" y="8"/>
                    <a:pt x="0" y="11"/>
                  </a:cubicBezTo>
                  <a:cubicBezTo>
                    <a:pt x="0" y="10"/>
                    <a:pt x="0" y="9"/>
                    <a:pt x="0" y="8"/>
                  </a:cubicBezTo>
                  <a:cubicBezTo>
                    <a:pt x="0" y="5"/>
                    <a:pt x="0" y="3"/>
                    <a:pt x="0" y="0"/>
                  </a:cubicBezTo>
                </a:path>
              </a:pathLst>
            </a:custGeom>
            <a:grpFill/>
            <a:ln w="9525">
              <a:noFill/>
              <a:round/>
              <a:headEnd/>
              <a:tailEnd/>
            </a:ln>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pic>
        <p:nvPicPr>
          <p:cNvPr id="44" name="Picture 2" descr="C:\Users\pontm\AppData\Local\Microsoft\Windows\Temporary Internet Files\Content.IE5\WXG9M8T3\megaphone.png"/>
          <p:cNvPicPr>
            <a:picLocks noChangeAspect="1" noChangeArrowheads="1"/>
          </p:cNvPicPr>
          <p:nvPr/>
        </p:nvPicPr>
        <p:blipFill>
          <a:blip r:embed="rId5">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283138" y="2832989"/>
            <a:ext cx="730650" cy="7306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5830198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737421" y="2713704"/>
            <a:ext cx="2477728" cy="3819832"/>
          </a:xfrm>
          <a:prstGeom prst="rect">
            <a:avLst/>
          </a:prstGeom>
          <a:solidFill>
            <a:srgbClr val="FFC000"/>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ectangle 4"/>
          <p:cNvSpPr/>
          <p:nvPr/>
        </p:nvSpPr>
        <p:spPr>
          <a:xfrm>
            <a:off x="3451462" y="2713704"/>
            <a:ext cx="2476800" cy="3819832"/>
          </a:xfrm>
          <a:prstGeom prst="rect">
            <a:avLst/>
          </a:prstGeom>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Rectangle 5"/>
          <p:cNvSpPr/>
          <p:nvPr/>
        </p:nvSpPr>
        <p:spPr>
          <a:xfrm>
            <a:off x="6164574" y="2713704"/>
            <a:ext cx="2476800" cy="3819832"/>
          </a:xfrm>
          <a:prstGeom prst="rect">
            <a:avLst/>
          </a:prstGeom>
          <a:solidFill>
            <a:schemeClr val="accent2"/>
          </a:solidFill>
          <a:ln>
            <a:noFill/>
          </a:ln>
          <a:effectLst>
            <a:outerShdw blurRad="63500" sx="102000" sy="102000" algn="c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Rectangle 7"/>
          <p:cNvSpPr/>
          <p:nvPr/>
        </p:nvSpPr>
        <p:spPr>
          <a:xfrm>
            <a:off x="1151089" y="3905866"/>
            <a:ext cx="1544062" cy="741972"/>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Verdana" panose="020B0604030504040204" pitchFamily="34" charset="0"/>
                <a:ea typeface="Verdana" panose="020B0604030504040204" pitchFamily="34" charset="0"/>
              </a:rPr>
              <a:t>VET pilot scheme</a:t>
            </a:r>
          </a:p>
        </p:txBody>
      </p:sp>
      <p:sp>
        <p:nvSpPr>
          <p:cNvPr id="8" name="Rectangle 8"/>
          <p:cNvSpPr/>
          <p:nvPr/>
        </p:nvSpPr>
        <p:spPr>
          <a:xfrm>
            <a:off x="3926506" y="3905865"/>
            <a:ext cx="1516109" cy="741972"/>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latin typeface="Verdana" panose="020B0604030504040204" pitchFamily="34" charset="0"/>
                <a:ea typeface="Verdana" panose="020B0604030504040204" pitchFamily="34" charset="0"/>
              </a:rPr>
              <a:t>SELFIE  </a:t>
            </a:r>
            <a:r>
              <a:rPr lang="en-US" sz="1300" b="1" dirty="0" err="1">
                <a:latin typeface="Verdana" panose="020B0604030504040204" pitchFamily="34" charset="0"/>
                <a:ea typeface="Verdana" panose="020B0604030504040204" pitchFamily="34" charset="0"/>
              </a:rPr>
              <a:t>HEInnovation</a:t>
            </a:r>
            <a:endParaRPr lang="en-US" sz="1300" b="1" dirty="0">
              <a:latin typeface="Verdana" panose="020B0604030504040204" pitchFamily="34" charset="0"/>
              <a:ea typeface="Verdana" panose="020B0604030504040204" pitchFamily="34" charset="0"/>
            </a:endParaRPr>
          </a:p>
        </p:txBody>
      </p:sp>
      <p:sp>
        <p:nvSpPr>
          <p:cNvPr id="9" name="Rectangle 9"/>
          <p:cNvSpPr/>
          <p:nvPr/>
        </p:nvSpPr>
        <p:spPr>
          <a:xfrm>
            <a:off x="6536624" y="3890146"/>
            <a:ext cx="1707723" cy="457200"/>
          </a:xfrm>
          <a:prstGeom prst="rect">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dirty="0">
                <a:latin typeface="Verdana" panose="020B0604030504040204" pitchFamily="34" charset="0"/>
                <a:ea typeface="Verdana" panose="020B0604030504040204" pitchFamily="34" charset="0"/>
              </a:rPr>
              <a:t>WBAA</a:t>
            </a:r>
          </a:p>
        </p:txBody>
      </p:sp>
      <p:sp>
        <p:nvSpPr>
          <p:cNvPr id="10" name="TextBox 11"/>
          <p:cNvSpPr txBox="1"/>
          <p:nvPr/>
        </p:nvSpPr>
        <p:spPr>
          <a:xfrm>
            <a:off x="1106845" y="4854150"/>
            <a:ext cx="1588305" cy="1603516"/>
          </a:xfrm>
          <a:prstGeom prst="rect">
            <a:avLst/>
          </a:prstGeom>
          <a:noFill/>
        </p:spPr>
        <p:txBody>
          <a:bodyPr wrap="square" rtlCol="0">
            <a:spAutoFit/>
          </a:bodyPr>
          <a:lstStyle/>
          <a:p>
            <a:pPr lvl="0">
              <a:lnSpc>
                <a:spcPct val="90000"/>
              </a:lnSpc>
              <a:spcBef>
                <a:spcPts val="252"/>
              </a:spcBef>
              <a:spcAft>
                <a:spcPts val="252"/>
              </a:spcAft>
              <a:defRPr/>
            </a:pPr>
            <a:r>
              <a:rPr lang="en-GB" sz="1400" dirty="0">
                <a:solidFill>
                  <a:schemeClr val="bg1"/>
                </a:solidFill>
              </a:rPr>
              <a:t>Learners and teachers</a:t>
            </a:r>
          </a:p>
          <a:p>
            <a:pPr lvl="0">
              <a:lnSpc>
                <a:spcPct val="90000"/>
              </a:lnSpc>
              <a:spcBef>
                <a:spcPts val="252"/>
              </a:spcBef>
              <a:spcAft>
                <a:spcPts val="252"/>
              </a:spcAft>
              <a:defRPr/>
            </a:pPr>
            <a:r>
              <a:rPr lang="en-GB" sz="1400" kern="0" dirty="0">
                <a:solidFill>
                  <a:schemeClr val="bg1"/>
                </a:solidFill>
              </a:rPr>
              <a:t>400-500 </a:t>
            </a:r>
            <a:r>
              <a:rPr lang="en-GB" sz="1400" kern="0" dirty="0" err="1">
                <a:solidFill>
                  <a:schemeClr val="bg1"/>
                </a:solidFill>
              </a:rPr>
              <a:t>mobilities</a:t>
            </a:r>
            <a:endParaRPr lang="en-GB" sz="1400" kern="0" dirty="0">
              <a:solidFill>
                <a:schemeClr val="bg1"/>
              </a:solidFill>
            </a:endParaRPr>
          </a:p>
          <a:p>
            <a:pPr lvl="0">
              <a:lnSpc>
                <a:spcPct val="90000"/>
              </a:lnSpc>
              <a:spcBef>
                <a:spcPts val="252"/>
              </a:spcBef>
              <a:spcAft>
                <a:spcPts val="252"/>
              </a:spcAft>
              <a:defRPr/>
            </a:pPr>
            <a:r>
              <a:rPr lang="en-GB" sz="1400" dirty="0">
                <a:solidFill>
                  <a:schemeClr val="bg1"/>
                </a:solidFill>
              </a:rPr>
              <a:t>Call to be launched February 2019</a:t>
            </a:r>
          </a:p>
        </p:txBody>
      </p:sp>
      <p:sp>
        <p:nvSpPr>
          <p:cNvPr id="11" name="TextBox 12"/>
          <p:cNvSpPr txBox="1"/>
          <p:nvPr/>
        </p:nvSpPr>
        <p:spPr>
          <a:xfrm>
            <a:off x="3854309" y="4854150"/>
            <a:ext cx="1588305" cy="1138773"/>
          </a:xfrm>
          <a:prstGeom prst="rect">
            <a:avLst/>
          </a:prstGeom>
          <a:noFill/>
        </p:spPr>
        <p:txBody>
          <a:bodyPr wrap="square" rtlCol="0">
            <a:spAutoFit/>
          </a:bodyPr>
          <a:lstStyle/>
          <a:p>
            <a:pPr lvl="0">
              <a:lnSpc>
                <a:spcPct val="90000"/>
              </a:lnSpc>
              <a:spcBef>
                <a:spcPts val="252"/>
              </a:spcBef>
              <a:spcAft>
                <a:spcPts val="252"/>
              </a:spcAft>
              <a:defRPr/>
            </a:pPr>
            <a:r>
              <a:rPr lang="en-GB" sz="1400" kern="0" dirty="0">
                <a:solidFill>
                  <a:schemeClr val="bg1"/>
                </a:solidFill>
              </a:rPr>
              <a:t>Digital skills – schools</a:t>
            </a:r>
          </a:p>
          <a:p>
            <a:pPr lvl="0">
              <a:lnSpc>
                <a:spcPct val="90000"/>
              </a:lnSpc>
              <a:spcBef>
                <a:spcPts val="252"/>
              </a:spcBef>
              <a:spcAft>
                <a:spcPts val="252"/>
              </a:spcAft>
              <a:defRPr/>
            </a:pPr>
            <a:r>
              <a:rPr lang="en-GB" sz="1400" dirty="0">
                <a:solidFill>
                  <a:schemeClr val="bg1"/>
                </a:solidFill>
              </a:rPr>
              <a:t>Innovation and entrepreneurial skills - HEIs</a:t>
            </a:r>
            <a:endParaRPr lang="en-GB" sz="1200" kern="0" dirty="0">
              <a:solidFill>
                <a:schemeClr val="bg1"/>
              </a:solidFill>
            </a:endParaRPr>
          </a:p>
        </p:txBody>
      </p:sp>
      <p:sp>
        <p:nvSpPr>
          <p:cNvPr id="12" name="TextBox 13"/>
          <p:cNvSpPr txBox="1"/>
          <p:nvPr/>
        </p:nvSpPr>
        <p:spPr>
          <a:xfrm>
            <a:off x="6572966" y="4625714"/>
            <a:ext cx="1671381" cy="1409617"/>
          </a:xfrm>
          <a:prstGeom prst="rect">
            <a:avLst/>
          </a:prstGeom>
          <a:noFill/>
        </p:spPr>
        <p:txBody>
          <a:bodyPr wrap="square" rtlCol="0">
            <a:spAutoFit/>
          </a:bodyPr>
          <a:lstStyle/>
          <a:p>
            <a:pPr lvl="0">
              <a:lnSpc>
                <a:spcPct val="90000"/>
              </a:lnSpc>
              <a:spcBef>
                <a:spcPts val="252"/>
              </a:spcBef>
              <a:spcAft>
                <a:spcPts val="252"/>
              </a:spcAft>
              <a:defRPr/>
            </a:pPr>
            <a:r>
              <a:rPr lang="es-ES" sz="1400" kern="0" dirty="0" err="1">
                <a:solidFill>
                  <a:schemeClr val="bg1"/>
                </a:solidFill>
              </a:rPr>
              <a:t>Alumni</a:t>
            </a:r>
            <a:r>
              <a:rPr lang="es-ES" sz="1400" kern="0" dirty="0">
                <a:solidFill>
                  <a:schemeClr val="bg1"/>
                </a:solidFill>
              </a:rPr>
              <a:t> </a:t>
            </a:r>
            <a:r>
              <a:rPr lang="es-ES" sz="1400" kern="0" dirty="0" err="1">
                <a:solidFill>
                  <a:schemeClr val="bg1"/>
                </a:solidFill>
              </a:rPr>
              <a:t>Association</a:t>
            </a:r>
            <a:endParaRPr lang="es-ES" sz="1400" kern="0" dirty="0">
              <a:solidFill>
                <a:schemeClr val="bg1"/>
              </a:solidFill>
            </a:endParaRPr>
          </a:p>
          <a:p>
            <a:pPr lvl="0">
              <a:lnSpc>
                <a:spcPct val="90000"/>
              </a:lnSpc>
              <a:spcBef>
                <a:spcPts val="252"/>
              </a:spcBef>
              <a:spcAft>
                <a:spcPts val="252"/>
              </a:spcAft>
              <a:defRPr/>
            </a:pPr>
            <a:r>
              <a:rPr lang="es-ES" sz="1400" dirty="0">
                <a:solidFill>
                  <a:schemeClr val="bg1"/>
                </a:solidFill>
              </a:rPr>
              <a:t>12 National </a:t>
            </a:r>
            <a:r>
              <a:rPr lang="es-ES" sz="1400" dirty="0" err="1">
                <a:solidFill>
                  <a:schemeClr val="bg1"/>
                </a:solidFill>
              </a:rPr>
              <a:t>Representatives</a:t>
            </a:r>
            <a:endParaRPr lang="es-ES" sz="1400" dirty="0">
              <a:solidFill>
                <a:schemeClr val="bg1"/>
              </a:solidFill>
            </a:endParaRPr>
          </a:p>
          <a:p>
            <a:pPr lvl="0">
              <a:lnSpc>
                <a:spcPct val="90000"/>
              </a:lnSpc>
              <a:spcBef>
                <a:spcPts val="252"/>
              </a:spcBef>
              <a:spcAft>
                <a:spcPts val="252"/>
              </a:spcAft>
              <a:defRPr/>
            </a:pPr>
            <a:r>
              <a:rPr lang="es-ES" sz="1400" kern="0" dirty="0">
                <a:solidFill>
                  <a:schemeClr val="bg1"/>
                </a:solidFill>
              </a:rPr>
              <a:t>I GA Tirana </a:t>
            </a:r>
            <a:r>
              <a:rPr lang="es-ES" sz="1400" kern="0" dirty="0" err="1">
                <a:solidFill>
                  <a:schemeClr val="bg1"/>
                </a:solidFill>
              </a:rPr>
              <a:t>March</a:t>
            </a:r>
            <a:r>
              <a:rPr lang="es-ES" sz="1400" kern="0" dirty="0">
                <a:solidFill>
                  <a:schemeClr val="bg1"/>
                </a:solidFill>
              </a:rPr>
              <a:t> </a:t>
            </a:r>
          </a:p>
        </p:txBody>
      </p:sp>
      <p:sp>
        <p:nvSpPr>
          <p:cNvPr id="37" name="Title 1"/>
          <p:cNvSpPr>
            <a:spLocks noGrp="1"/>
          </p:cNvSpPr>
          <p:nvPr>
            <p:ph type="title"/>
          </p:nvPr>
        </p:nvSpPr>
        <p:spPr>
          <a:xfrm>
            <a:off x="395288" y="1339850"/>
            <a:ext cx="8229601" cy="936625"/>
          </a:xfrm>
        </p:spPr>
        <p:txBody>
          <a:bodyPr/>
          <a:lstStyle/>
          <a:p>
            <a:r>
              <a:rPr lang="es-ES" dirty="0" err="1"/>
              <a:t>Other</a:t>
            </a:r>
            <a:r>
              <a:rPr lang="es-ES" dirty="0"/>
              <a:t> </a:t>
            </a:r>
            <a:r>
              <a:rPr lang="es-ES" dirty="0" err="1"/>
              <a:t>initiatives</a:t>
            </a:r>
            <a:endParaRPr lang="es-ES" dirty="0"/>
          </a:p>
        </p:txBody>
      </p:sp>
      <p:grpSp>
        <p:nvGrpSpPr>
          <p:cNvPr id="13" name="POWER_USER_ID_ICONS_Laptop"/>
          <p:cNvGrpSpPr>
            <a:grpSpLocks noChangeAspect="1"/>
          </p:cNvGrpSpPr>
          <p:nvPr>
            <p:custDataLst>
              <p:tags r:id="rId1"/>
            </p:custDataLst>
          </p:nvPr>
        </p:nvGrpSpPr>
        <p:grpSpPr bwMode="auto">
          <a:xfrm>
            <a:off x="4223085" y="2955103"/>
            <a:ext cx="922950" cy="679740"/>
            <a:chOff x="24" y="83"/>
            <a:chExt cx="444" cy="327"/>
          </a:xfrm>
          <a:solidFill>
            <a:schemeClr val="accent3"/>
          </a:solidFill>
        </p:grpSpPr>
        <p:sp>
          <p:nvSpPr>
            <p:cNvPr id="14" name="POWER_USER_ID_ICONS_Laptop"/>
            <p:cNvSpPr>
              <a:spLocks noEditPoints="1"/>
            </p:cNvSpPr>
            <p:nvPr>
              <p:custDataLst>
                <p:tags r:id="rId13"/>
              </p:custDataLst>
            </p:nvPr>
          </p:nvSpPr>
          <p:spPr bwMode="auto">
            <a:xfrm>
              <a:off x="36" y="83"/>
              <a:ext cx="420" cy="291"/>
            </a:xfrm>
            <a:custGeom>
              <a:avLst/>
              <a:gdLst>
                <a:gd name="T0" fmla="*/ 931 w 996"/>
                <a:gd name="T1" fmla="*/ 0 h 689"/>
                <a:gd name="T2" fmla="*/ 64 w 996"/>
                <a:gd name="T3" fmla="*/ 0 h 689"/>
                <a:gd name="T4" fmla="*/ 0 w 996"/>
                <a:gd name="T5" fmla="*/ 64 h 689"/>
                <a:gd name="T6" fmla="*/ 0 w 996"/>
                <a:gd name="T7" fmla="*/ 627 h 689"/>
                <a:gd name="T8" fmla="*/ 44 w 996"/>
                <a:gd name="T9" fmla="*/ 687 h 689"/>
                <a:gd name="T10" fmla="*/ 81 w 996"/>
                <a:gd name="T11" fmla="*/ 656 h 689"/>
                <a:gd name="T12" fmla="*/ 131 w 996"/>
                <a:gd name="T13" fmla="*/ 656 h 689"/>
                <a:gd name="T14" fmla="*/ 170 w 996"/>
                <a:gd name="T15" fmla="*/ 689 h 689"/>
                <a:gd name="T16" fmla="*/ 171 w 996"/>
                <a:gd name="T17" fmla="*/ 689 h 689"/>
                <a:gd name="T18" fmla="*/ 210 w 996"/>
                <a:gd name="T19" fmla="*/ 656 h 689"/>
                <a:gd name="T20" fmla="*/ 260 w 996"/>
                <a:gd name="T21" fmla="*/ 656 h 689"/>
                <a:gd name="T22" fmla="*/ 299 w 996"/>
                <a:gd name="T23" fmla="*/ 689 h 689"/>
                <a:gd name="T24" fmla="*/ 311 w 996"/>
                <a:gd name="T25" fmla="*/ 689 h 689"/>
                <a:gd name="T26" fmla="*/ 353 w 996"/>
                <a:gd name="T27" fmla="*/ 656 h 689"/>
                <a:gd name="T28" fmla="*/ 645 w 996"/>
                <a:gd name="T29" fmla="*/ 656 h 689"/>
                <a:gd name="T30" fmla="*/ 686 w 996"/>
                <a:gd name="T31" fmla="*/ 689 h 689"/>
                <a:gd name="T32" fmla="*/ 699 w 996"/>
                <a:gd name="T33" fmla="*/ 689 h 689"/>
                <a:gd name="T34" fmla="*/ 738 w 996"/>
                <a:gd name="T35" fmla="*/ 656 h 689"/>
                <a:gd name="T36" fmla="*/ 788 w 996"/>
                <a:gd name="T37" fmla="*/ 656 h 689"/>
                <a:gd name="T38" fmla="*/ 826 w 996"/>
                <a:gd name="T39" fmla="*/ 689 h 689"/>
                <a:gd name="T40" fmla="*/ 823 w 996"/>
                <a:gd name="T41" fmla="*/ 689 h 689"/>
                <a:gd name="T42" fmla="*/ 861 w 996"/>
                <a:gd name="T43" fmla="*/ 656 h 689"/>
                <a:gd name="T44" fmla="*/ 911 w 996"/>
                <a:gd name="T45" fmla="*/ 656 h 689"/>
                <a:gd name="T46" fmla="*/ 949 w 996"/>
                <a:gd name="T47" fmla="*/ 688 h 689"/>
                <a:gd name="T48" fmla="*/ 996 w 996"/>
                <a:gd name="T49" fmla="*/ 626 h 689"/>
                <a:gd name="T50" fmla="*/ 996 w 996"/>
                <a:gd name="T51" fmla="*/ 64 h 689"/>
                <a:gd name="T52" fmla="*/ 931 w 996"/>
                <a:gd name="T53" fmla="*/ 0 h 689"/>
                <a:gd name="T54" fmla="*/ 945 w 996"/>
                <a:gd name="T55" fmla="*/ 613 h 689"/>
                <a:gd name="T56" fmla="*/ 924 w 996"/>
                <a:gd name="T57" fmla="*/ 634 h 689"/>
                <a:gd name="T58" fmla="*/ 71 w 996"/>
                <a:gd name="T59" fmla="*/ 634 h 689"/>
                <a:gd name="T60" fmla="*/ 50 w 996"/>
                <a:gd name="T61" fmla="*/ 613 h 689"/>
                <a:gd name="T62" fmla="*/ 50 w 996"/>
                <a:gd name="T63" fmla="*/ 78 h 689"/>
                <a:gd name="T64" fmla="*/ 71 w 996"/>
                <a:gd name="T65" fmla="*/ 57 h 689"/>
                <a:gd name="T66" fmla="*/ 924 w 996"/>
                <a:gd name="T67" fmla="*/ 57 h 689"/>
                <a:gd name="T68" fmla="*/ 945 w 996"/>
                <a:gd name="T69" fmla="*/ 78 h 689"/>
                <a:gd name="T70" fmla="*/ 945 w 996"/>
                <a:gd name="T71" fmla="*/ 613 h 6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96" h="689">
                  <a:moveTo>
                    <a:pt x="931" y="0"/>
                  </a:moveTo>
                  <a:lnTo>
                    <a:pt x="64" y="0"/>
                  </a:lnTo>
                  <a:cubicBezTo>
                    <a:pt x="29" y="0"/>
                    <a:pt x="0" y="29"/>
                    <a:pt x="0" y="64"/>
                  </a:cubicBezTo>
                  <a:lnTo>
                    <a:pt x="0" y="627"/>
                  </a:lnTo>
                  <a:cubicBezTo>
                    <a:pt x="0" y="655"/>
                    <a:pt x="19" y="679"/>
                    <a:pt x="44" y="687"/>
                  </a:cubicBezTo>
                  <a:cubicBezTo>
                    <a:pt x="48" y="669"/>
                    <a:pt x="63" y="656"/>
                    <a:pt x="81" y="656"/>
                  </a:cubicBezTo>
                  <a:lnTo>
                    <a:pt x="131" y="656"/>
                  </a:lnTo>
                  <a:cubicBezTo>
                    <a:pt x="150" y="656"/>
                    <a:pt x="166" y="670"/>
                    <a:pt x="170" y="689"/>
                  </a:cubicBezTo>
                  <a:lnTo>
                    <a:pt x="171" y="689"/>
                  </a:lnTo>
                  <a:cubicBezTo>
                    <a:pt x="174" y="670"/>
                    <a:pt x="190" y="656"/>
                    <a:pt x="210" y="656"/>
                  </a:cubicBezTo>
                  <a:lnTo>
                    <a:pt x="260" y="656"/>
                  </a:lnTo>
                  <a:cubicBezTo>
                    <a:pt x="279" y="656"/>
                    <a:pt x="295" y="670"/>
                    <a:pt x="299" y="689"/>
                  </a:cubicBezTo>
                  <a:lnTo>
                    <a:pt x="311" y="689"/>
                  </a:lnTo>
                  <a:cubicBezTo>
                    <a:pt x="315" y="670"/>
                    <a:pt x="333" y="656"/>
                    <a:pt x="353" y="656"/>
                  </a:cubicBezTo>
                  <a:lnTo>
                    <a:pt x="645" y="656"/>
                  </a:lnTo>
                  <a:cubicBezTo>
                    <a:pt x="665" y="656"/>
                    <a:pt x="683" y="670"/>
                    <a:pt x="686" y="689"/>
                  </a:cubicBezTo>
                  <a:lnTo>
                    <a:pt x="699" y="689"/>
                  </a:lnTo>
                  <a:cubicBezTo>
                    <a:pt x="701" y="670"/>
                    <a:pt x="718" y="656"/>
                    <a:pt x="738" y="656"/>
                  </a:cubicBezTo>
                  <a:lnTo>
                    <a:pt x="788" y="656"/>
                  </a:lnTo>
                  <a:cubicBezTo>
                    <a:pt x="806" y="656"/>
                    <a:pt x="823" y="670"/>
                    <a:pt x="826" y="689"/>
                  </a:cubicBezTo>
                  <a:lnTo>
                    <a:pt x="823" y="689"/>
                  </a:lnTo>
                  <a:cubicBezTo>
                    <a:pt x="825" y="670"/>
                    <a:pt x="841" y="656"/>
                    <a:pt x="861" y="656"/>
                  </a:cubicBezTo>
                  <a:lnTo>
                    <a:pt x="911" y="656"/>
                  </a:lnTo>
                  <a:cubicBezTo>
                    <a:pt x="930" y="656"/>
                    <a:pt x="945" y="670"/>
                    <a:pt x="949" y="688"/>
                  </a:cubicBezTo>
                  <a:cubicBezTo>
                    <a:pt x="976" y="680"/>
                    <a:pt x="996" y="656"/>
                    <a:pt x="996" y="626"/>
                  </a:cubicBezTo>
                  <a:lnTo>
                    <a:pt x="996" y="64"/>
                  </a:lnTo>
                  <a:cubicBezTo>
                    <a:pt x="995" y="29"/>
                    <a:pt x="966" y="0"/>
                    <a:pt x="931" y="0"/>
                  </a:cubicBezTo>
                  <a:close/>
                  <a:moveTo>
                    <a:pt x="945" y="613"/>
                  </a:moveTo>
                  <a:cubicBezTo>
                    <a:pt x="945" y="624"/>
                    <a:pt x="935" y="634"/>
                    <a:pt x="924" y="634"/>
                  </a:cubicBezTo>
                  <a:lnTo>
                    <a:pt x="71" y="634"/>
                  </a:lnTo>
                  <a:cubicBezTo>
                    <a:pt x="60" y="634"/>
                    <a:pt x="50" y="624"/>
                    <a:pt x="50" y="613"/>
                  </a:cubicBezTo>
                  <a:lnTo>
                    <a:pt x="50" y="78"/>
                  </a:lnTo>
                  <a:cubicBezTo>
                    <a:pt x="50" y="67"/>
                    <a:pt x="60" y="57"/>
                    <a:pt x="71" y="57"/>
                  </a:cubicBezTo>
                  <a:lnTo>
                    <a:pt x="924" y="57"/>
                  </a:lnTo>
                  <a:cubicBezTo>
                    <a:pt x="935" y="57"/>
                    <a:pt x="945" y="67"/>
                    <a:pt x="945" y="78"/>
                  </a:cubicBezTo>
                  <a:lnTo>
                    <a:pt x="945" y="613"/>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5" name="POWER_USER_ID_ICONS_Laptop"/>
            <p:cNvSpPr>
              <a:spLocks/>
            </p:cNvSpPr>
            <p:nvPr>
              <p:custDataLst>
                <p:tags r:id="rId14"/>
              </p:custDataLst>
            </p:nvPr>
          </p:nvSpPr>
          <p:spPr bwMode="auto">
            <a:xfrm>
              <a:off x="24" y="382"/>
              <a:ext cx="444" cy="28"/>
            </a:xfrm>
            <a:custGeom>
              <a:avLst/>
              <a:gdLst>
                <a:gd name="T0" fmla="*/ 1051 w 1052"/>
                <a:gd name="T1" fmla="*/ 26 h 65"/>
                <a:gd name="T2" fmla="*/ 1024 w 1052"/>
                <a:gd name="T3" fmla="*/ 0 h 65"/>
                <a:gd name="T4" fmla="*/ 27 w 1052"/>
                <a:gd name="T5" fmla="*/ 0 h 65"/>
                <a:gd name="T6" fmla="*/ 0 w 1052"/>
                <a:gd name="T7" fmla="*/ 26 h 65"/>
                <a:gd name="T8" fmla="*/ 0 w 1052"/>
                <a:gd name="T9" fmla="*/ 39 h 65"/>
                <a:gd name="T10" fmla="*/ 27 w 1052"/>
                <a:gd name="T11" fmla="*/ 65 h 65"/>
                <a:gd name="T12" fmla="*/ 1026 w 1052"/>
                <a:gd name="T13" fmla="*/ 65 h 65"/>
                <a:gd name="T14" fmla="*/ 1052 w 1052"/>
                <a:gd name="T15" fmla="*/ 39 h 65"/>
                <a:gd name="T16" fmla="*/ 1052 w 1052"/>
                <a:gd name="T17" fmla="*/ 26 h 65"/>
                <a:gd name="T18" fmla="*/ 1051 w 1052"/>
                <a:gd name="T19" fmla="*/ 26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2" h="65">
                  <a:moveTo>
                    <a:pt x="1051" y="26"/>
                  </a:moveTo>
                  <a:cubicBezTo>
                    <a:pt x="1051" y="12"/>
                    <a:pt x="1039" y="0"/>
                    <a:pt x="1024" y="0"/>
                  </a:cubicBezTo>
                  <a:lnTo>
                    <a:pt x="27" y="0"/>
                  </a:lnTo>
                  <a:cubicBezTo>
                    <a:pt x="13" y="0"/>
                    <a:pt x="0" y="11"/>
                    <a:pt x="0" y="26"/>
                  </a:cubicBezTo>
                  <a:lnTo>
                    <a:pt x="0" y="39"/>
                  </a:lnTo>
                  <a:cubicBezTo>
                    <a:pt x="0" y="52"/>
                    <a:pt x="12" y="65"/>
                    <a:pt x="27" y="65"/>
                  </a:cubicBezTo>
                  <a:lnTo>
                    <a:pt x="1026" y="65"/>
                  </a:lnTo>
                  <a:cubicBezTo>
                    <a:pt x="1039" y="65"/>
                    <a:pt x="1052" y="53"/>
                    <a:pt x="1052" y="39"/>
                  </a:cubicBezTo>
                  <a:lnTo>
                    <a:pt x="1052" y="26"/>
                  </a:lnTo>
                  <a:lnTo>
                    <a:pt x="1051" y="26"/>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6" name="POWER_USER_ID_ICONS_Laptop"/>
            <p:cNvSpPr>
              <a:spLocks/>
            </p:cNvSpPr>
            <p:nvPr>
              <p:custDataLst>
                <p:tags r:id="rId15"/>
              </p:custDataLst>
            </p:nvPr>
          </p:nvSpPr>
          <p:spPr bwMode="auto">
            <a:xfrm>
              <a:off x="173" y="368"/>
              <a:ext cx="145" cy="10"/>
            </a:xfrm>
            <a:custGeom>
              <a:avLst/>
              <a:gdLst>
                <a:gd name="T0" fmla="*/ 316 w 343"/>
                <a:gd name="T1" fmla="*/ 0 h 24"/>
                <a:gd name="T2" fmla="*/ 25 w 343"/>
                <a:gd name="T3" fmla="*/ 0 h 24"/>
                <a:gd name="T4" fmla="*/ 0 w 343"/>
                <a:gd name="T5" fmla="*/ 24 h 24"/>
                <a:gd name="T6" fmla="*/ 343 w 343"/>
                <a:gd name="T7" fmla="*/ 24 h 24"/>
                <a:gd name="T8" fmla="*/ 316 w 343"/>
                <a:gd name="T9" fmla="*/ 0 h 24"/>
              </a:gdLst>
              <a:ahLst/>
              <a:cxnLst>
                <a:cxn ang="0">
                  <a:pos x="T0" y="T1"/>
                </a:cxn>
                <a:cxn ang="0">
                  <a:pos x="T2" y="T3"/>
                </a:cxn>
                <a:cxn ang="0">
                  <a:pos x="T4" y="T5"/>
                </a:cxn>
                <a:cxn ang="0">
                  <a:pos x="T6" y="T7"/>
                </a:cxn>
                <a:cxn ang="0">
                  <a:pos x="T8" y="T9"/>
                </a:cxn>
              </a:cxnLst>
              <a:rect l="0" t="0" r="r" b="b"/>
              <a:pathLst>
                <a:path w="343" h="24">
                  <a:moveTo>
                    <a:pt x="316" y="0"/>
                  </a:moveTo>
                  <a:lnTo>
                    <a:pt x="25" y="0"/>
                  </a:lnTo>
                  <a:cubicBezTo>
                    <a:pt x="11" y="0"/>
                    <a:pt x="1" y="10"/>
                    <a:pt x="0" y="24"/>
                  </a:cubicBezTo>
                  <a:lnTo>
                    <a:pt x="343" y="24"/>
                  </a:lnTo>
                  <a:cubicBezTo>
                    <a:pt x="341" y="10"/>
                    <a:pt x="330" y="0"/>
                    <a:pt x="316"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7" name="POWER_USER_ID_ICONS_Laptop"/>
            <p:cNvSpPr>
              <a:spLocks/>
            </p:cNvSpPr>
            <p:nvPr>
              <p:custDataLst>
                <p:tags r:id="rId16"/>
              </p:custDataLst>
            </p:nvPr>
          </p:nvSpPr>
          <p:spPr bwMode="auto">
            <a:xfrm>
              <a:off x="336" y="368"/>
              <a:ext cx="40" cy="10"/>
            </a:xfrm>
            <a:custGeom>
              <a:avLst/>
              <a:gdLst>
                <a:gd name="T0" fmla="*/ 72 w 94"/>
                <a:gd name="T1" fmla="*/ 0 h 23"/>
                <a:gd name="T2" fmla="*/ 22 w 94"/>
                <a:gd name="T3" fmla="*/ 0 h 23"/>
                <a:gd name="T4" fmla="*/ 0 w 94"/>
                <a:gd name="T5" fmla="*/ 21 h 23"/>
                <a:gd name="T6" fmla="*/ 0 w 94"/>
                <a:gd name="T7" fmla="*/ 23 h 23"/>
                <a:gd name="T8" fmla="*/ 93 w 94"/>
                <a:gd name="T9" fmla="*/ 23 h 23"/>
                <a:gd name="T10" fmla="*/ 93 w 94"/>
                <a:gd name="T11" fmla="*/ 21 h 23"/>
                <a:gd name="T12" fmla="*/ 72 w 94"/>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94" h="23">
                  <a:moveTo>
                    <a:pt x="72" y="0"/>
                  </a:moveTo>
                  <a:lnTo>
                    <a:pt x="22" y="0"/>
                  </a:lnTo>
                  <a:cubicBezTo>
                    <a:pt x="9" y="0"/>
                    <a:pt x="0" y="10"/>
                    <a:pt x="0" y="21"/>
                  </a:cubicBezTo>
                  <a:lnTo>
                    <a:pt x="0" y="23"/>
                  </a:lnTo>
                  <a:lnTo>
                    <a:pt x="93" y="23"/>
                  </a:lnTo>
                  <a:lnTo>
                    <a:pt x="93" y="21"/>
                  </a:lnTo>
                  <a:cubicBezTo>
                    <a:pt x="94" y="10"/>
                    <a:pt x="84" y="0"/>
                    <a:pt x="7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8" name="POWER_USER_ID_ICONS_Laptop"/>
            <p:cNvSpPr>
              <a:spLocks/>
            </p:cNvSpPr>
            <p:nvPr>
              <p:custDataLst>
                <p:tags r:id="rId17"/>
              </p:custDataLst>
            </p:nvPr>
          </p:nvSpPr>
          <p:spPr bwMode="auto">
            <a:xfrm>
              <a:off x="390" y="368"/>
              <a:ext cx="39" cy="10"/>
            </a:xfrm>
            <a:custGeom>
              <a:avLst/>
              <a:gdLst>
                <a:gd name="T0" fmla="*/ 92 w 92"/>
                <a:gd name="T1" fmla="*/ 21 h 23"/>
                <a:gd name="T2" fmla="*/ 71 w 92"/>
                <a:gd name="T3" fmla="*/ 0 h 23"/>
                <a:gd name="T4" fmla="*/ 21 w 92"/>
                <a:gd name="T5" fmla="*/ 0 h 23"/>
                <a:gd name="T6" fmla="*/ 0 w 92"/>
                <a:gd name="T7" fmla="*/ 21 h 23"/>
                <a:gd name="T8" fmla="*/ 0 w 92"/>
                <a:gd name="T9" fmla="*/ 23 h 23"/>
                <a:gd name="T10" fmla="*/ 92 w 92"/>
                <a:gd name="T11" fmla="*/ 23 h 23"/>
                <a:gd name="T12" fmla="*/ 92 w 92"/>
                <a:gd name="T13" fmla="*/ 21 h 23"/>
              </a:gdLst>
              <a:ahLst/>
              <a:cxnLst>
                <a:cxn ang="0">
                  <a:pos x="T0" y="T1"/>
                </a:cxn>
                <a:cxn ang="0">
                  <a:pos x="T2" y="T3"/>
                </a:cxn>
                <a:cxn ang="0">
                  <a:pos x="T4" y="T5"/>
                </a:cxn>
                <a:cxn ang="0">
                  <a:pos x="T6" y="T7"/>
                </a:cxn>
                <a:cxn ang="0">
                  <a:pos x="T8" y="T9"/>
                </a:cxn>
                <a:cxn ang="0">
                  <a:pos x="T10" y="T11"/>
                </a:cxn>
                <a:cxn ang="0">
                  <a:pos x="T12" y="T13"/>
                </a:cxn>
              </a:cxnLst>
              <a:rect l="0" t="0" r="r" b="b"/>
              <a:pathLst>
                <a:path w="92" h="23">
                  <a:moveTo>
                    <a:pt x="92" y="21"/>
                  </a:moveTo>
                  <a:cubicBezTo>
                    <a:pt x="92" y="9"/>
                    <a:pt x="82" y="0"/>
                    <a:pt x="71" y="0"/>
                  </a:cubicBezTo>
                  <a:lnTo>
                    <a:pt x="21" y="0"/>
                  </a:lnTo>
                  <a:cubicBezTo>
                    <a:pt x="9" y="0"/>
                    <a:pt x="0" y="10"/>
                    <a:pt x="0" y="21"/>
                  </a:cubicBezTo>
                  <a:lnTo>
                    <a:pt x="0" y="23"/>
                  </a:lnTo>
                  <a:lnTo>
                    <a:pt x="92" y="23"/>
                  </a:lnTo>
                  <a:lnTo>
                    <a:pt x="92" y="2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19" name="POWER_USER_ID_ICONS_Laptop"/>
            <p:cNvSpPr>
              <a:spLocks/>
            </p:cNvSpPr>
            <p:nvPr>
              <p:custDataLst>
                <p:tags r:id="rId18"/>
              </p:custDataLst>
            </p:nvPr>
          </p:nvSpPr>
          <p:spPr bwMode="auto">
            <a:xfrm>
              <a:off x="61" y="368"/>
              <a:ext cx="39" cy="10"/>
            </a:xfrm>
            <a:custGeom>
              <a:avLst/>
              <a:gdLst>
                <a:gd name="T0" fmla="*/ 71 w 92"/>
                <a:gd name="T1" fmla="*/ 0 h 23"/>
                <a:gd name="T2" fmla="*/ 21 w 92"/>
                <a:gd name="T3" fmla="*/ 0 h 23"/>
                <a:gd name="T4" fmla="*/ 0 w 92"/>
                <a:gd name="T5" fmla="*/ 21 h 23"/>
                <a:gd name="T6" fmla="*/ 0 w 92"/>
                <a:gd name="T7" fmla="*/ 23 h 23"/>
                <a:gd name="T8" fmla="*/ 92 w 92"/>
                <a:gd name="T9" fmla="*/ 23 h 23"/>
                <a:gd name="T10" fmla="*/ 92 w 92"/>
                <a:gd name="T11" fmla="*/ 21 h 23"/>
                <a:gd name="T12" fmla="*/ 71 w 92"/>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92" h="23">
                  <a:moveTo>
                    <a:pt x="71" y="0"/>
                  </a:moveTo>
                  <a:lnTo>
                    <a:pt x="21" y="0"/>
                  </a:lnTo>
                  <a:cubicBezTo>
                    <a:pt x="9" y="0"/>
                    <a:pt x="0" y="10"/>
                    <a:pt x="0" y="21"/>
                  </a:cubicBezTo>
                  <a:lnTo>
                    <a:pt x="0" y="23"/>
                  </a:lnTo>
                  <a:lnTo>
                    <a:pt x="92" y="23"/>
                  </a:lnTo>
                  <a:lnTo>
                    <a:pt x="92" y="21"/>
                  </a:lnTo>
                  <a:cubicBezTo>
                    <a:pt x="92" y="10"/>
                    <a:pt x="83" y="0"/>
                    <a:pt x="71"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0" name="POWER_USER_ID_ICONS_Laptop"/>
            <p:cNvSpPr>
              <a:spLocks/>
            </p:cNvSpPr>
            <p:nvPr>
              <p:custDataLst>
                <p:tags r:id="rId19"/>
              </p:custDataLst>
            </p:nvPr>
          </p:nvSpPr>
          <p:spPr bwMode="auto">
            <a:xfrm>
              <a:off x="114" y="368"/>
              <a:ext cx="40" cy="10"/>
            </a:xfrm>
            <a:custGeom>
              <a:avLst/>
              <a:gdLst>
                <a:gd name="T0" fmla="*/ 72 w 94"/>
                <a:gd name="T1" fmla="*/ 0 h 23"/>
                <a:gd name="T2" fmla="*/ 22 w 94"/>
                <a:gd name="T3" fmla="*/ 0 h 23"/>
                <a:gd name="T4" fmla="*/ 0 w 94"/>
                <a:gd name="T5" fmla="*/ 21 h 23"/>
                <a:gd name="T6" fmla="*/ 0 w 94"/>
                <a:gd name="T7" fmla="*/ 23 h 23"/>
                <a:gd name="T8" fmla="*/ 93 w 94"/>
                <a:gd name="T9" fmla="*/ 23 h 23"/>
                <a:gd name="T10" fmla="*/ 93 w 94"/>
                <a:gd name="T11" fmla="*/ 21 h 23"/>
                <a:gd name="T12" fmla="*/ 72 w 94"/>
                <a:gd name="T13" fmla="*/ 0 h 23"/>
              </a:gdLst>
              <a:ahLst/>
              <a:cxnLst>
                <a:cxn ang="0">
                  <a:pos x="T0" y="T1"/>
                </a:cxn>
                <a:cxn ang="0">
                  <a:pos x="T2" y="T3"/>
                </a:cxn>
                <a:cxn ang="0">
                  <a:pos x="T4" y="T5"/>
                </a:cxn>
                <a:cxn ang="0">
                  <a:pos x="T6" y="T7"/>
                </a:cxn>
                <a:cxn ang="0">
                  <a:pos x="T8" y="T9"/>
                </a:cxn>
                <a:cxn ang="0">
                  <a:pos x="T10" y="T11"/>
                </a:cxn>
                <a:cxn ang="0">
                  <a:pos x="T12" y="T13"/>
                </a:cxn>
              </a:cxnLst>
              <a:rect l="0" t="0" r="r" b="b"/>
              <a:pathLst>
                <a:path w="94" h="23">
                  <a:moveTo>
                    <a:pt x="72" y="0"/>
                  </a:moveTo>
                  <a:lnTo>
                    <a:pt x="22" y="0"/>
                  </a:lnTo>
                  <a:cubicBezTo>
                    <a:pt x="9" y="0"/>
                    <a:pt x="0" y="10"/>
                    <a:pt x="0" y="21"/>
                  </a:cubicBezTo>
                  <a:lnTo>
                    <a:pt x="0" y="23"/>
                  </a:lnTo>
                  <a:lnTo>
                    <a:pt x="93" y="23"/>
                  </a:lnTo>
                  <a:lnTo>
                    <a:pt x="93" y="21"/>
                  </a:lnTo>
                  <a:cubicBezTo>
                    <a:pt x="94" y="10"/>
                    <a:pt x="84" y="0"/>
                    <a:pt x="72"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
        <p:nvSpPr>
          <p:cNvPr id="21" name="POWER_USER_ID_ICONS_Gear"/>
          <p:cNvSpPr>
            <a:spLocks noEditPoints="1"/>
          </p:cNvSpPr>
          <p:nvPr>
            <p:custDataLst>
              <p:tags r:id="rId2"/>
            </p:custDataLst>
          </p:nvPr>
        </p:nvSpPr>
        <p:spPr bwMode="auto">
          <a:xfrm>
            <a:off x="1643895" y="3018906"/>
            <a:ext cx="514208" cy="541103"/>
          </a:xfrm>
          <a:custGeom>
            <a:avLst/>
            <a:gdLst>
              <a:gd name="T0" fmla="*/ 1103 w 1223"/>
              <a:gd name="T1" fmla="*/ 249 h 1223"/>
              <a:gd name="T2" fmla="*/ 973 w 1223"/>
              <a:gd name="T3" fmla="*/ 119 h 1223"/>
              <a:gd name="T4" fmla="*/ 853 w 1223"/>
              <a:gd name="T5" fmla="*/ 220 h 1223"/>
              <a:gd name="T6" fmla="*/ 745 w 1223"/>
              <a:gd name="T7" fmla="*/ 171 h 1223"/>
              <a:gd name="T8" fmla="*/ 708 w 1223"/>
              <a:gd name="T9" fmla="*/ 8 h 1223"/>
              <a:gd name="T10" fmla="*/ 611 w 1223"/>
              <a:gd name="T11" fmla="*/ 0 h 1223"/>
              <a:gd name="T12" fmla="*/ 524 w 1223"/>
              <a:gd name="T13" fmla="*/ 6 h 1223"/>
              <a:gd name="T14" fmla="*/ 484 w 1223"/>
              <a:gd name="T15" fmla="*/ 170 h 1223"/>
              <a:gd name="T16" fmla="*/ 417 w 1223"/>
              <a:gd name="T17" fmla="*/ 195 h 1223"/>
              <a:gd name="T18" fmla="*/ 250 w 1223"/>
              <a:gd name="T19" fmla="*/ 121 h 1223"/>
              <a:gd name="T20" fmla="*/ 220 w 1223"/>
              <a:gd name="T21" fmla="*/ 141 h 1223"/>
              <a:gd name="T22" fmla="*/ 120 w 1223"/>
              <a:gd name="T23" fmla="*/ 249 h 1223"/>
              <a:gd name="T24" fmla="*/ 220 w 1223"/>
              <a:gd name="T25" fmla="*/ 370 h 1223"/>
              <a:gd name="T26" fmla="*/ 172 w 1223"/>
              <a:gd name="T27" fmla="*/ 478 h 1223"/>
              <a:gd name="T28" fmla="*/ 165 w 1223"/>
              <a:gd name="T29" fmla="*/ 505 h 1223"/>
              <a:gd name="T30" fmla="*/ 0 w 1223"/>
              <a:gd name="T31" fmla="*/ 594 h 1223"/>
              <a:gd name="T32" fmla="*/ 165 w 1223"/>
              <a:gd name="T33" fmla="*/ 717 h 1223"/>
              <a:gd name="T34" fmla="*/ 195 w 1223"/>
              <a:gd name="T35" fmla="*/ 806 h 1223"/>
              <a:gd name="T36" fmla="*/ 125 w 1223"/>
              <a:gd name="T37" fmla="*/ 978 h 1223"/>
              <a:gd name="T38" fmla="*/ 255 w 1223"/>
              <a:gd name="T39" fmla="*/ 1106 h 1223"/>
              <a:gd name="T40" fmla="*/ 375 w 1223"/>
              <a:gd name="T41" fmla="*/ 1005 h 1223"/>
              <a:gd name="T42" fmla="*/ 484 w 1223"/>
              <a:gd name="T43" fmla="*/ 1053 h 1223"/>
              <a:gd name="T44" fmla="*/ 524 w 1223"/>
              <a:gd name="T45" fmla="*/ 1216 h 1223"/>
              <a:gd name="T46" fmla="*/ 629 w 1223"/>
              <a:gd name="T47" fmla="*/ 1223 h 1223"/>
              <a:gd name="T48" fmla="*/ 723 w 1223"/>
              <a:gd name="T49" fmla="*/ 1056 h 1223"/>
              <a:gd name="T50" fmla="*/ 806 w 1223"/>
              <a:gd name="T51" fmla="*/ 1028 h 1223"/>
              <a:gd name="T52" fmla="*/ 859 w 1223"/>
              <a:gd name="T53" fmla="*/ 1001 h 1223"/>
              <a:gd name="T54" fmla="*/ 1003 w 1223"/>
              <a:gd name="T55" fmla="*/ 1084 h 1223"/>
              <a:gd name="T56" fmla="*/ 1107 w 1223"/>
              <a:gd name="T57" fmla="*/ 969 h 1223"/>
              <a:gd name="T58" fmla="*/ 1006 w 1223"/>
              <a:gd name="T59" fmla="*/ 846 h 1223"/>
              <a:gd name="T60" fmla="*/ 1051 w 1223"/>
              <a:gd name="T61" fmla="*/ 746 h 1223"/>
              <a:gd name="T62" fmla="*/ 1059 w 1223"/>
              <a:gd name="T63" fmla="*/ 719 h 1223"/>
              <a:gd name="T64" fmla="*/ 1223 w 1223"/>
              <a:gd name="T65" fmla="*/ 630 h 1223"/>
              <a:gd name="T66" fmla="*/ 1223 w 1223"/>
              <a:gd name="T67" fmla="*/ 593 h 1223"/>
              <a:gd name="T68" fmla="*/ 1059 w 1223"/>
              <a:gd name="T69" fmla="*/ 504 h 1223"/>
              <a:gd name="T70" fmla="*/ 1029 w 1223"/>
              <a:gd name="T71" fmla="*/ 418 h 1223"/>
              <a:gd name="T72" fmla="*/ 615 w 1223"/>
              <a:gd name="T73" fmla="*/ 385 h 1223"/>
              <a:gd name="T74" fmla="*/ 839 w 1223"/>
              <a:gd name="T75" fmla="*/ 609 h 1223"/>
              <a:gd name="T76" fmla="*/ 615 w 1223"/>
              <a:gd name="T77" fmla="*/ 833 h 1223"/>
              <a:gd name="T78" fmla="*/ 390 w 1223"/>
              <a:gd name="T79" fmla="*/ 609 h 1223"/>
              <a:gd name="T80" fmla="*/ 615 w 1223"/>
              <a:gd name="T81" fmla="*/ 385 h 1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23" h="1223">
                <a:moveTo>
                  <a:pt x="1004" y="373"/>
                </a:moveTo>
                <a:cubicBezTo>
                  <a:pt x="1036" y="331"/>
                  <a:pt x="1070" y="291"/>
                  <a:pt x="1103" y="249"/>
                </a:cubicBezTo>
                <a:lnTo>
                  <a:pt x="1104" y="247"/>
                </a:lnTo>
                <a:cubicBezTo>
                  <a:pt x="1068" y="199"/>
                  <a:pt x="1024" y="156"/>
                  <a:pt x="973" y="119"/>
                </a:cubicBezTo>
                <a:lnTo>
                  <a:pt x="973" y="120"/>
                </a:lnTo>
                <a:cubicBezTo>
                  <a:pt x="931" y="153"/>
                  <a:pt x="891" y="186"/>
                  <a:pt x="853" y="220"/>
                </a:cubicBezTo>
                <a:cubicBezTo>
                  <a:pt x="836" y="210"/>
                  <a:pt x="821" y="201"/>
                  <a:pt x="805" y="195"/>
                </a:cubicBezTo>
                <a:cubicBezTo>
                  <a:pt x="786" y="185"/>
                  <a:pt x="766" y="178"/>
                  <a:pt x="745" y="171"/>
                </a:cubicBezTo>
                <a:cubicBezTo>
                  <a:pt x="737" y="169"/>
                  <a:pt x="730" y="168"/>
                  <a:pt x="722" y="165"/>
                </a:cubicBezTo>
                <a:cubicBezTo>
                  <a:pt x="719" y="113"/>
                  <a:pt x="713" y="60"/>
                  <a:pt x="708" y="8"/>
                </a:cubicBezTo>
                <a:cubicBezTo>
                  <a:pt x="683" y="4"/>
                  <a:pt x="656" y="1"/>
                  <a:pt x="631" y="0"/>
                </a:cubicBezTo>
                <a:lnTo>
                  <a:pt x="611" y="0"/>
                </a:lnTo>
                <a:lnTo>
                  <a:pt x="591" y="0"/>
                </a:lnTo>
                <a:cubicBezTo>
                  <a:pt x="569" y="1"/>
                  <a:pt x="546" y="3"/>
                  <a:pt x="524" y="6"/>
                </a:cubicBezTo>
                <a:lnTo>
                  <a:pt x="509" y="164"/>
                </a:lnTo>
                <a:cubicBezTo>
                  <a:pt x="500" y="165"/>
                  <a:pt x="491" y="168"/>
                  <a:pt x="484" y="170"/>
                </a:cubicBezTo>
                <a:cubicBezTo>
                  <a:pt x="481" y="170"/>
                  <a:pt x="479" y="171"/>
                  <a:pt x="476" y="171"/>
                </a:cubicBezTo>
                <a:cubicBezTo>
                  <a:pt x="456" y="178"/>
                  <a:pt x="436" y="185"/>
                  <a:pt x="417" y="195"/>
                </a:cubicBezTo>
                <a:cubicBezTo>
                  <a:pt x="401" y="201"/>
                  <a:pt x="386" y="210"/>
                  <a:pt x="371" y="220"/>
                </a:cubicBezTo>
                <a:cubicBezTo>
                  <a:pt x="331" y="186"/>
                  <a:pt x="291" y="154"/>
                  <a:pt x="250" y="121"/>
                </a:cubicBezTo>
                <a:lnTo>
                  <a:pt x="247" y="119"/>
                </a:lnTo>
                <a:cubicBezTo>
                  <a:pt x="239" y="126"/>
                  <a:pt x="229" y="134"/>
                  <a:pt x="220" y="141"/>
                </a:cubicBezTo>
                <a:cubicBezTo>
                  <a:pt x="205" y="154"/>
                  <a:pt x="191" y="166"/>
                  <a:pt x="177" y="181"/>
                </a:cubicBezTo>
                <a:cubicBezTo>
                  <a:pt x="156" y="201"/>
                  <a:pt x="137" y="225"/>
                  <a:pt x="120" y="249"/>
                </a:cubicBezTo>
                <a:cubicBezTo>
                  <a:pt x="120" y="250"/>
                  <a:pt x="120" y="250"/>
                  <a:pt x="121" y="250"/>
                </a:cubicBezTo>
                <a:cubicBezTo>
                  <a:pt x="154" y="291"/>
                  <a:pt x="186" y="331"/>
                  <a:pt x="220" y="370"/>
                </a:cubicBezTo>
                <a:cubicBezTo>
                  <a:pt x="211" y="385"/>
                  <a:pt x="202" y="401"/>
                  <a:pt x="195" y="416"/>
                </a:cubicBezTo>
                <a:cubicBezTo>
                  <a:pt x="186" y="436"/>
                  <a:pt x="177" y="456"/>
                  <a:pt x="172" y="478"/>
                </a:cubicBezTo>
                <a:cubicBezTo>
                  <a:pt x="171" y="478"/>
                  <a:pt x="171" y="478"/>
                  <a:pt x="171" y="479"/>
                </a:cubicBezTo>
                <a:cubicBezTo>
                  <a:pt x="169" y="486"/>
                  <a:pt x="166" y="495"/>
                  <a:pt x="165" y="505"/>
                </a:cubicBezTo>
                <a:cubicBezTo>
                  <a:pt x="111" y="509"/>
                  <a:pt x="59" y="514"/>
                  <a:pt x="6" y="520"/>
                </a:cubicBezTo>
                <a:cubicBezTo>
                  <a:pt x="4" y="544"/>
                  <a:pt x="1" y="569"/>
                  <a:pt x="0" y="594"/>
                </a:cubicBezTo>
                <a:cubicBezTo>
                  <a:pt x="1" y="631"/>
                  <a:pt x="4" y="667"/>
                  <a:pt x="10" y="703"/>
                </a:cubicBezTo>
                <a:cubicBezTo>
                  <a:pt x="61" y="709"/>
                  <a:pt x="113" y="714"/>
                  <a:pt x="165" y="717"/>
                </a:cubicBezTo>
                <a:cubicBezTo>
                  <a:pt x="166" y="726"/>
                  <a:pt x="169" y="735"/>
                  <a:pt x="171" y="744"/>
                </a:cubicBezTo>
                <a:cubicBezTo>
                  <a:pt x="178" y="765"/>
                  <a:pt x="186" y="786"/>
                  <a:pt x="195" y="806"/>
                </a:cubicBezTo>
                <a:cubicBezTo>
                  <a:pt x="204" y="823"/>
                  <a:pt x="211" y="840"/>
                  <a:pt x="223" y="856"/>
                </a:cubicBezTo>
                <a:cubicBezTo>
                  <a:pt x="190" y="896"/>
                  <a:pt x="156" y="936"/>
                  <a:pt x="125" y="978"/>
                </a:cubicBezTo>
                <a:cubicBezTo>
                  <a:pt x="161" y="1028"/>
                  <a:pt x="204" y="1071"/>
                  <a:pt x="254" y="1106"/>
                </a:cubicBezTo>
                <a:lnTo>
                  <a:pt x="255" y="1106"/>
                </a:lnTo>
                <a:cubicBezTo>
                  <a:pt x="295" y="1073"/>
                  <a:pt x="335" y="1040"/>
                  <a:pt x="375" y="1006"/>
                </a:cubicBezTo>
                <a:lnTo>
                  <a:pt x="375" y="1005"/>
                </a:lnTo>
                <a:cubicBezTo>
                  <a:pt x="389" y="1014"/>
                  <a:pt x="401" y="1021"/>
                  <a:pt x="416" y="1028"/>
                </a:cubicBezTo>
                <a:cubicBezTo>
                  <a:pt x="439" y="1038"/>
                  <a:pt x="461" y="1046"/>
                  <a:pt x="484" y="1053"/>
                </a:cubicBezTo>
                <a:cubicBezTo>
                  <a:pt x="493" y="1055"/>
                  <a:pt x="500" y="1057"/>
                  <a:pt x="509" y="1059"/>
                </a:cubicBezTo>
                <a:cubicBezTo>
                  <a:pt x="513" y="1113"/>
                  <a:pt x="519" y="1164"/>
                  <a:pt x="524" y="1216"/>
                </a:cubicBezTo>
                <a:cubicBezTo>
                  <a:pt x="546" y="1220"/>
                  <a:pt x="569" y="1221"/>
                  <a:pt x="593" y="1223"/>
                </a:cubicBezTo>
                <a:lnTo>
                  <a:pt x="629" y="1223"/>
                </a:lnTo>
                <a:cubicBezTo>
                  <a:pt x="655" y="1221"/>
                  <a:pt x="681" y="1219"/>
                  <a:pt x="707" y="1215"/>
                </a:cubicBezTo>
                <a:cubicBezTo>
                  <a:pt x="712" y="1163"/>
                  <a:pt x="719" y="1110"/>
                  <a:pt x="723" y="1056"/>
                </a:cubicBezTo>
                <a:cubicBezTo>
                  <a:pt x="730" y="1055"/>
                  <a:pt x="738" y="1053"/>
                  <a:pt x="745" y="1051"/>
                </a:cubicBezTo>
                <a:cubicBezTo>
                  <a:pt x="766" y="1045"/>
                  <a:pt x="786" y="1038"/>
                  <a:pt x="806" y="1028"/>
                </a:cubicBezTo>
                <a:cubicBezTo>
                  <a:pt x="823" y="1020"/>
                  <a:pt x="840" y="1011"/>
                  <a:pt x="856" y="1000"/>
                </a:cubicBezTo>
                <a:cubicBezTo>
                  <a:pt x="856" y="1000"/>
                  <a:pt x="857" y="1000"/>
                  <a:pt x="859" y="1001"/>
                </a:cubicBezTo>
                <a:cubicBezTo>
                  <a:pt x="899" y="1035"/>
                  <a:pt x="939" y="1068"/>
                  <a:pt x="981" y="1101"/>
                </a:cubicBezTo>
                <a:cubicBezTo>
                  <a:pt x="989" y="1095"/>
                  <a:pt x="996" y="1089"/>
                  <a:pt x="1003" y="1084"/>
                </a:cubicBezTo>
                <a:cubicBezTo>
                  <a:pt x="1018" y="1070"/>
                  <a:pt x="1032" y="1058"/>
                  <a:pt x="1046" y="1043"/>
                </a:cubicBezTo>
                <a:cubicBezTo>
                  <a:pt x="1068" y="1020"/>
                  <a:pt x="1089" y="995"/>
                  <a:pt x="1107" y="969"/>
                </a:cubicBezTo>
                <a:cubicBezTo>
                  <a:pt x="1075" y="928"/>
                  <a:pt x="1041" y="888"/>
                  <a:pt x="1007" y="848"/>
                </a:cubicBezTo>
                <a:cubicBezTo>
                  <a:pt x="1006" y="848"/>
                  <a:pt x="1006" y="846"/>
                  <a:pt x="1006" y="846"/>
                </a:cubicBezTo>
                <a:cubicBezTo>
                  <a:pt x="1015" y="833"/>
                  <a:pt x="1021" y="819"/>
                  <a:pt x="1029" y="805"/>
                </a:cubicBezTo>
                <a:cubicBezTo>
                  <a:pt x="1037" y="786"/>
                  <a:pt x="1045" y="766"/>
                  <a:pt x="1051" y="746"/>
                </a:cubicBezTo>
                <a:cubicBezTo>
                  <a:pt x="1051" y="744"/>
                  <a:pt x="1053" y="741"/>
                  <a:pt x="1053" y="740"/>
                </a:cubicBezTo>
                <a:cubicBezTo>
                  <a:pt x="1055" y="733"/>
                  <a:pt x="1056" y="725"/>
                  <a:pt x="1059" y="719"/>
                </a:cubicBezTo>
                <a:cubicBezTo>
                  <a:pt x="1111" y="714"/>
                  <a:pt x="1164" y="709"/>
                  <a:pt x="1216" y="704"/>
                </a:cubicBezTo>
                <a:cubicBezTo>
                  <a:pt x="1220" y="680"/>
                  <a:pt x="1221" y="655"/>
                  <a:pt x="1223" y="630"/>
                </a:cubicBezTo>
                <a:lnTo>
                  <a:pt x="1223" y="611"/>
                </a:lnTo>
                <a:lnTo>
                  <a:pt x="1223" y="593"/>
                </a:lnTo>
                <a:cubicBezTo>
                  <a:pt x="1221" y="568"/>
                  <a:pt x="1220" y="543"/>
                  <a:pt x="1216" y="519"/>
                </a:cubicBezTo>
                <a:cubicBezTo>
                  <a:pt x="1164" y="514"/>
                  <a:pt x="1111" y="509"/>
                  <a:pt x="1059" y="504"/>
                </a:cubicBezTo>
                <a:cubicBezTo>
                  <a:pt x="1056" y="498"/>
                  <a:pt x="1055" y="490"/>
                  <a:pt x="1053" y="483"/>
                </a:cubicBezTo>
                <a:cubicBezTo>
                  <a:pt x="1046" y="460"/>
                  <a:pt x="1038" y="439"/>
                  <a:pt x="1029" y="418"/>
                </a:cubicBezTo>
                <a:cubicBezTo>
                  <a:pt x="1021" y="401"/>
                  <a:pt x="1013" y="386"/>
                  <a:pt x="1004" y="373"/>
                </a:cubicBezTo>
                <a:close/>
                <a:moveTo>
                  <a:pt x="615" y="385"/>
                </a:moveTo>
                <a:cubicBezTo>
                  <a:pt x="676" y="385"/>
                  <a:pt x="729" y="406"/>
                  <a:pt x="774" y="450"/>
                </a:cubicBezTo>
                <a:cubicBezTo>
                  <a:pt x="818" y="494"/>
                  <a:pt x="839" y="546"/>
                  <a:pt x="839" y="609"/>
                </a:cubicBezTo>
                <a:cubicBezTo>
                  <a:pt x="839" y="670"/>
                  <a:pt x="818" y="723"/>
                  <a:pt x="774" y="768"/>
                </a:cubicBezTo>
                <a:cubicBezTo>
                  <a:pt x="729" y="811"/>
                  <a:pt x="676" y="833"/>
                  <a:pt x="615" y="833"/>
                </a:cubicBezTo>
                <a:cubicBezTo>
                  <a:pt x="553" y="833"/>
                  <a:pt x="500" y="811"/>
                  <a:pt x="456" y="768"/>
                </a:cubicBezTo>
                <a:cubicBezTo>
                  <a:pt x="413" y="723"/>
                  <a:pt x="390" y="670"/>
                  <a:pt x="390" y="609"/>
                </a:cubicBezTo>
                <a:cubicBezTo>
                  <a:pt x="390" y="546"/>
                  <a:pt x="413" y="494"/>
                  <a:pt x="456" y="450"/>
                </a:cubicBezTo>
                <a:cubicBezTo>
                  <a:pt x="500" y="406"/>
                  <a:pt x="553" y="385"/>
                  <a:pt x="615" y="385"/>
                </a:cubicBezTo>
                <a:close/>
              </a:path>
            </a:pathLst>
          </a:custGeom>
          <a:solidFill>
            <a:schemeClr val="bg1">
              <a:lumMod val="65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nvGrpSpPr>
          <p:cNvPr id="22" name="POWER_USER_ID_ICONS_Atomic"/>
          <p:cNvGrpSpPr>
            <a:grpSpLocks noChangeAspect="1"/>
          </p:cNvGrpSpPr>
          <p:nvPr>
            <p:custDataLst>
              <p:tags r:id="rId3"/>
            </p:custDataLst>
          </p:nvPr>
        </p:nvGrpSpPr>
        <p:grpSpPr bwMode="auto">
          <a:xfrm>
            <a:off x="6968333" y="2847078"/>
            <a:ext cx="724886" cy="807390"/>
            <a:chOff x="62" y="39"/>
            <a:chExt cx="369" cy="411"/>
          </a:xfrm>
          <a:solidFill>
            <a:schemeClr val="bg1"/>
          </a:solidFill>
        </p:grpSpPr>
        <p:sp>
          <p:nvSpPr>
            <p:cNvPr id="23" name="POWER_USER_ID_ICONS_Atomic"/>
            <p:cNvSpPr>
              <a:spLocks noEditPoints="1"/>
            </p:cNvSpPr>
            <p:nvPr>
              <p:custDataLst>
                <p:tags r:id="rId4"/>
              </p:custDataLst>
            </p:nvPr>
          </p:nvSpPr>
          <p:spPr bwMode="auto">
            <a:xfrm>
              <a:off x="175" y="39"/>
              <a:ext cx="142" cy="411"/>
            </a:xfrm>
            <a:custGeom>
              <a:avLst/>
              <a:gdLst>
                <a:gd name="T0" fmla="*/ 154 w 308"/>
                <a:gd name="T1" fmla="*/ 0 h 889"/>
                <a:gd name="T2" fmla="*/ 90 w 308"/>
                <a:gd name="T3" fmla="*/ 39 h 889"/>
                <a:gd name="T4" fmla="*/ 43 w 308"/>
                <a:gd name="T5" fmla="*/ 135 h 889"/>
                <a:gd name="T6" fmla="*/ 0 w 308"/>
                <a:gd name="T7" fmla="*/ 445 h 889"/>
                <a:gd name="T8" fmla="*/ 43 w 308"/>
                <a:gd name="T9" fmla="*/ 755 h 889"/>
                <a:gd name="T10" fmla="*/ 90 w 308"/>
                <a:gd name="T11" fmla="*/ 851 h 889"/>
                <a:gd name="T12" fmla="*/ 154 w 308"/>
                <a:gd name="T13" fmla="*/ 889 h 889"/>
                <a:gd name="T14" fmla="*/ 218 w 308"/>
                <a:gd name="T15" fmla="*/ 851 h 889"/>
                <a:gd name="T16" fmla="*/ 265 w 308"/>
                <a:gd name="T17" fmla="*/ 755 h 889"/>
                <a:gd name="T18" fmla="*/ 308 w 308"/>
                <a:gd name="T19" fmla="*/ 445 h 889"/>
                <a:gd name="T20" fmla="*/ 265 w 308"/>
                <a:gd name="T21" fmla="*/ 135 h 889"/>
                <a:gd name="T22" fmla="*/ 218 w 308"/>
                <a:gd name="T23" fmla="*/ 39 h 889"/>
                <a:gd name="T24" fmla="*/ 154 w 308"/>
                <a:gd name="T25" fmla="*/ 0 h 889"/>
                <a:gd name="T26" fmla="*/ 154 w 308"/>
                <a:gd name="T27" fmla="*/ 20 h 889"/>
                <a:gd name="T28" fmla="*/ 202 w 308"/>
                <a:gd name="T29" fmla="*/ 51 h 889"/>
                <a:gd name="T30" fmla="*/ 247 w 308"/>
                <a:gd name="T31" fmla="*/ 141 h 889"/>
                <a:gd name="T32" fmla="*/ 288 w 308"/>
                <a:gd name="T33" fmla="*/ 445 h 889"/>
                <a:gd name="T34" fmla="*/ 247 w 308"/>
                <a:gd name="T35" fmla="*/ 748 h 889"/>
                <a:gd name="T36" fmla="*/ 202 w 308"/>
                <a:gd name="T37" fmla="*/ 838 h 889"/>
                <a:gd name="T38" fmla="*/ 154 w 308"/>
                <a:gd name="T39" fmla="*/ 869 h 889"/>
                <a:gd name="T40" fmla="*/ 106 w 308"/>
                <a:gd name="T41" fmla="*/ 838 h 889"/>
                <a:gd name="T42" fmla="*/ 62 w 308"/>
                <a:gd name="T43" fmla="*/ 748 h 889"/>
                <a:gd name="T44" fmla="*/ 20 w 308"/>
                <a:gd name="T45" fmla="*/ 445 h 889"/>
                <a:gd name="T46" fmla="*/ 62 w 308"/>
                <a:gd name="T47" fmla="*/ 141 h 889"/>
                <a:gd name="T48" fmla="*/ 106 w 308"/>
                <a:gd name="T49" fmla="*/ 51 h 889"/>
                <a:gd name="T50" fmla="*/ 154 w 308"/>
                <a:gd name="T51" fmla="*/ 20 h 8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8" h="889">
                  <a:moveTo>
                    <a:pt x="154" y="0"/>
                  </a:moveTo>
                  <a:cubicBezTo>
                    <a:pt x="130" y="0"/>
                    <a:pt x="109" y="15"/>
                    <a:pt x="90" y="39"/>
                  </a:cubicBezTo>
                  <a:cubicBezTo>
                    <a:pt x="72" y="62"/>
                    <a:pt x="56" y="95"/>
                    <a:pt x="43" y="135"/>
                  </a:cubicBezTo>
                  <a:cubicBezTo>
                    <a:pt x="16" y="214"/>
                    <a:pt x="0" y="324"/>
                    <a:pt x="0" y="445"/>
                  </a:cubicBezTo>
                  <a:cubicBezTo>
                    <a:pt x="0" y="565"/>
                    <a:pt x="16" y="675"/>
                    <a:pt x="43" y="755"/>
                  </a:cubicBezTo>
                  <a:cubicBezTo>
                    <a:pt x="56" y="795"/>
                    <a:pt x="72" y="827"/>
                    <a:pt x="90" y="851"/>
                  </a:cubicBezTo>
                  <a:cubicBezTo>
                    <a:pt x="109" y="874"/>
                    <a:pt x="130" y="889"/>
                    <a:pt x="154" y="889"/>
                  </a:cubicBezTo>
                  <a:cubicBezTo>
                    <a:pt x="178" y="889"/>
                    <a:pt x="200" y="874"/>
                    <a:pt x="218" y="851"/>
                  </a:cubicBezTo>
                  <a:cubicBezTo>
                    <a:pt x="237" y="827"/>
                    <a:pt x="252" y="795"/>
                    <a:pt x="265" y="755"/>
                  </a:cubicBezTo>
                  <a:cubicBezTo>
                    <a:pt x="292" y="675"/>
                    <a:pt x="308" y="565"/>
                    <a:pt x="308" y="445"/>
                  </a:cubicBezTo>
                  <a:cubicBezTo>
                    <a:pt x="308" y="324"/>
                    <a:pt x="292" y="214"/>
                    <a:pt x="265" y="135"/>
                  </a:cubicBezTo>
                  <a:cubicBezTo>
                    <a:pt x="252" y="95"/>
                    <a:pt x="237" y="62"/>
                    <a:pt x="218" y="39"/>
                  </a:cubicBezTo>
                  <a:cubicBezTo>
                    <a:pt x="200" y="15"/>
                    <a:pt x="178" y="0"/>
                    <a:pt x="154" y="0"/>
                  </a:cubicBezTo>
                  <a:close/>
                  <a:moveTo>
                    <a:pt x="154" y="20"/>
                  </a:moveTo>
                  <a:cubicBezTo>
                    <a:pt x="170" y="20"/>
                    <a:pt x="186" y="30"/>
                    <a:pt x="202" y="51"/>
                  </a:cubicBezTo>
                  <a:cubicBezTo>
                    <a:pt x="218" y="71"/>
                    <a:pt x="234" y="102"/>
                    <a:pt x="247" y="141"/>
                  </a:cubicBezTo>
                  <a:cubicBezTo>
                    <a:pt x="272" y="218"/>
                    <a:pt x="288" y="326"/>
                    <a:pt x="288" y="445"/>
                  </a:cubicBezTo>
                  <a:cubicBezTo>
                    <a:pt x="288" y="563"/>
                    <a:pt x="272" y="671"/>
                    <a:pt x="247" y="748"/>
                  </a:cubicBezTo>
                  <a:cubicBezTo>
                    <a:pt x="234" y="787"/>
                    <a:pt x="218" y="818"/>
                    <a:pt x="202" y="838"/>
                  </a:cubicBezTo>
                  <a:cubicBezTo>
                    <a:pt x="186" y="859"/>
                    <a:pt x="170" y="869"/>
                    <a:pt x="154" y="869"/>
                  </a:cubicBezTo>
                  <a:cubicBezTo>
                    <a:pt x="138" y="869"/>
                    <a:pt x="122" y="859"/>
                    <a:pt x="106" y="838"/>
                  </a:cubicBezTo>
                  <a:cubicBezTo>
                    <a:pt x="90" y="818"/>
                    <a:pt x="75" y="787"/>
                    <a:pt x="62" y="748"/>
                  </a:cubicBezTo>
                  <a:cubicBezTo>
                    <a:pt x="36" y="671"/>
                    <a:pt x="20" y="563"/>
                    <a:pt x="20" y="445"/>
                  </a:cubicBezTo>
                  <a:cubicBezTo>
                    <a:pt x="20" y="326"/>
                    <a:pt x="36" y="218"/>
                    <a:pt x="62" y="141"/>
                  </a:cubicBezTo>
                  <a:cubicBezTo>
                    <a:pt x="75" y="102"/>
                    <a:pt x="90" y="71"/>
                    <a:pt x="106" y="51"/>
                  </a:cubicBezTo>
                  <a:cubicBezTo>
                    <a:pt x="122" y="30"/>
                    <a:pt x="138" y="20"/>
                    <a:pt x="154" y="2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4" name="POWER_USER_ID_ICONS_Atomic"/>
            <p:cNvSpPr>
              <a:spLocks noEditPoints="1"/>
            </p:cNvSpPr>
            <p:nvPr>
              <p:custDataLst>
                <p:tags r:id="rId5"/>
              </p:custDataLst>
            </p:nvPr>
          </p:nvSpPr>
          <p:spPr bwMode="auto">
            <a:xfrm>
              <a:off x="88" y="93"/>
              <a:ext cx="317" cy="303"/>
            </a:xfrm>
            <a:custGeom>
              <a:avLst/>
              <a:gdLst>
                <a:gd name="T0" fmla="*/ 667 w 688"/>
                <a:gd name="T1" fmla="*/ 23 h 655"/>
                <a:gd name="T2" fmla="*/ 596 w 688"/>
                <a:gd name="T3" fmla="*/ 3 h 655"/>
                <a:gd name="T4" fmla="*/ 494 w 688"/>
                <a:gd name="T5" fmla="*/ 34 h 655"/>
                <a:gd name="T6" fmla="*/ 239 w 688"/>
                <a:gd name="T7" fmla="*/ 216 h 655"/>
                <a:gd name="T8" fmla="*/ 42 w 688"/>
                <a:gd name="T9" fmla="*/ 459 h 655"/>
                <a:gd name="T10" fmla="*/ 5 w 688"/>
                <a:gd name="T11" fmla="*/ 560 h 655"/>
                <a:gd name="T12" fmla="*/ 21 w 688"/>
                <a:gd name="T13" fmla="*/ 632 h 655"/>
                <a:gd name="T14" fmla="*/ 93 w 688"/>
                <a:gd name="T15" fmla="*/ 653 h 655"/>
                <a:gd name="T16" fmla="*/ 195 w 688"/>
                <a:gd name="T17" fmla="*/ 621 h 655"/>
                <a:gd name="T18" fmla="*/ 450 w 688"/>
                <a:gd name="T19" fmla="*/ 440 h 655"/>
                <a:gd name="T20" fmla="*/ 646 w 688"/>
                <a:gd name="T21" fmla="*/ 196 h 655"/>
                <a:gd name="T22" fmla="*/ 684 w 688"/>
                <a:gd name="T23" fmla="*/ 96 h 655"/>
                <a:gd name="T24" fmla="*/ 667 w 688"/>
                <a:gd name="T25" fmla="*/ 23 h 655"/>
                <a:gd name="T26" fmla="*/ 653 w 688"/>
                <a:gd name="T27" fmla="*/ 37 h 655"/>
                <a:gd name="T28" fmla="*/ 664 w 688"/>
                <a:gd name="T29" fmla="*/ 92 h 655"/>
                <a:gd name="T30" fmla="*/ 629 w 688"/>
                <a:gd name="T31" fmla="*/ 186 h 655"/>
                <a:gd name="T32" fmla="*/ 436 w 688"/>
                <a:gd name="T33" fmla="*/ 425 h 655"/>
                <a:gd name="T34" fmla="*/ 187 w 688"/>
                <a:gd name="T35" fmla="*/ 603 h 655"/>
                <a:gd name="T36" fmla="*/ 91 w 688"/>
                <a:gd name="T37" fmla="*/ 633 h 655"/>
                <a:gd name="T38" fmla="*/ 36 w 688"/>
                <a:gd name="T39" fmla="*/ 618 h 655"/>
                <a:gd name="T40" fmla="*/ 25 w 688"/>
                <a:gd name="T41" fmla="*/ 562 h 655"/>
                <a:gd name="T42" fmla="*/ 60 w 688"/>
                <a:gd name="T43" fmla="*/ 469 h 655"/>
                <a:gd name="T44" fmla="*/ 253 w 688"/>
                <a:gd name="T45" fmla="*/ 230 h 655"/>
                <a:gd name="T46" fmla="*/ 502 w 688"/>
                <a:gd name="T47" fmla="*/ 52 h 655"/>
                <a:gd name="T48" fmla="*/ 598 w 688"/>
                <a:gd name="T49" fmla="*/ 22 h 655"/>
                <a:gd name="T50" fmla="*/ 653 w 688"/>
                <a:gd name="T51" fmla="*/ 37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88" h="655">
                  <a:moveTo>
                    <a:pt x="667" y="23"/>
                  </a:moveTo>
                  <a:cubicBezTo>
                    <a:pt x="651" y="6"/>
                    <a:pt x="626" y="0"/>
                    <a:pt x="596" y="3"/>
                  </a:cubicBezTo>
                  <a:cubicBezTo>
                    <a:pt x="566" y="5"/>
                    <a:pt x="532" y="16"/>
                    <a:pt x="494" y="34"/>
                  </a:cubicBezTo>
                  <a:cubicBezTo>
                    <a:pt x="417" y="69"/>
                    <a:pt x="327" y="133"/>
                    <a:pt x="239" y="216"/>
                  </a:cubicBezTo>
                  <a:cubicBezTo>
                    <a:pt x="151" y="298"/>
                    <a:pt x="82" y="385"/>
                    <a:pt x="42" y="459"/>
                  </a:cubicBezTo>
                  <a:cubicBezTo>
                    <a:pt x="22" y="496"/>
                    <a:pt x="9" y="530"/>
                    <a:pt x="5" y="560"/>
                  </a:cubicBezTo>
                  <a:cubicBezTo>
                    <a:pt x="0" y="589"/>
                    <a:pt x="5" y="615"/>
                    <a:pt x="21" y="632"/>
                  </a:cubicBezTo>
                  <a:cubicBezTo>
                    <a:pt x="38" y="649"/>
                    <a:pt x="63" y="655"/>
                    <a:pt x="93" y="653"/>
                  </a:cubicBezTo>
                  <a:cubicBezTo>
                    <a:pt x="122" y="650"/>
                    <a:pt x="157" y="639"/>
                    <a:pt x="195" y="621"/>
                  </a:cubicBezTo>
                  <a:cubicBezTo>
                    <a:pt x="271" y="586"/>
                    <a:pt x="362" y="522"/>
                    <a:pt x="450" y="440"/>
                  </a:cubicBezTo>
                  <a:cubicBezTo>
                    <a:pt x="538" y="357"/>
                    <a:pt x="606" y="270"/>
                    <a:pt x="646" y="196"/>
                  </a:cubicBezTo>
                  <a:cubicBezTo>
                    <a:pt x="666" y="159"/>
                    <a:pt x="679" y="125"/>
                    <a:pt x="684" y="96"/>
                  </a:cubicBezTo>
                  <a:cubicBezTo>
                    <a:pt x="688" y="66"/>
                    <a:pt x="684" y="40"/>
                    <a:pt x="667" y="23"/>
                  </a:cubicBezTo>
                  <a:close/>
                  <a:moveTo>
                    <a:pt x="653" y="37"/>
                  </a:moveTo>
                  <a:cubicBezTo>
                    <a:pt x="664" y="48"/>
                    <a:pt x="668" y="67"/>
                    <a:pt x="664" y="92"/>
                  </a:cubicBezTo>
                  <a:cubicBezTo>
                    <a:pt x="660" y="118"/>
                    <a:pt x="648" y="151"/>
                    <a:pt x="629" y="186"/>
                  </a:cubicBezTo>
                  <a:cubicBezTo>
                    <a:pt x="590" y="258"/>
                    <a:pt x="523" y="343"/>
                    <a:pt x="436" y="425"/>
                  </a:cubicBezTo>
                  <a:cubicBezTo>
                    <a:pt x="350" y="507"/>
                    <a:pt x="260" y="569"/>
                    <a:pt x="187" y="603"/>
                  </a:cubicBezTo>
                  <a:cubicBezTo>
                    <a:pt x="150" y="620"/>
                    <a:pt x="117" y="630"/>
                    <a:pt x="91" y="633"/>
                  </a:cubicBezTo>
                  <a:cubicBezTo>
                    <a:pt x="65" y="635"/>
                    <a:pt x="46" y="630"/>
                    <a:pt x="36" y="618"/>
                  </a:cubicBezTo>
                  <a:cubicBezTo>
                    <a:pt x="25" y="607"/>
                    <a:pt x="21" y="588"/>
                    <a:pt x="25" y="562"/>
                  </a:cubicBezTo>
                  <a:cubicBezTo>
                    <a:pt x="29" y="537"/>
                    <a:pt x="41" y="504"/>
                    <a:pt x="60" y="469"/>
                  </a:cubicBezTo>
                  <a:cubicBezTo>
                    <a:pt x="99" y="397"/>
                    <a:pt x="166" y="312"/>
                    <a:pt x="253" y="230"/>
                  </a:cubicBezTo>
                  <a:cubicBezTo>
                    <a:pt x="339" y="149"/>
                    <a:pt x="428" y="86"/>
                    <a:pt x="502" y="52"/>
                  </a:cubicBezTo>
                  <a:cubicBezTo>
                    <a:pt x="539" y="35"/>
                    <a:pt x="572" y="25"/>
                    <a:pt x="598" y="22"/>
                  </a:cubicBezTo>
                  <a:cubicBezTo>
                    <a:pt x="624" y="20"/>
                    <a:pt x="642" y="25"/>
                    <a:pt x="653" y="3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5" name="POWER_USER_ID_ICONS_Atomic"/>
            <p:cNvSpPr>
              <a:spLocks noEditPoints="1"/>
            </p:cNvSpPr>
            <p:nvPr>
              <p:custDataLst>
                <p:tags r:id="rId6"/>
              </p:custDataLst>
            </p:nvPr>
          </p:nvSpPr>
          <p:spPr bwMode="auto">
            <a:xfrm>
              <a:off x="62" y="125"/>
              <a:ext cx="369" cy="239"/>
            </a:xfrm>
            <a:custGeom>
              <a:avLst/>
              <a:gdLst>
                <a:gd name="T0" fmla="*/ 787 w 799"/>
                <a:gd name="T1" fmla="*/ 475 h 517"/>
                <a:gd name="T2" fmla="*/ 785 w 799"/>
                <a:gd name="T3" fmla="*/ 401 h 517"/>
                <a:gd name="T4" fmla="*/ 724 w 799"/>
                <a:gd name="T5" fmla="*/ 312 h 517"/>
                <a:gd name="T6" fmla="*/ 474 w 799"/>
                <a:gd name="T7" fmla="*/ 124 h 517"/>
                <a:gd name="T8" fmla="*/ 183 w 799"/>
                <a:gd name="T9" fmla="*/ 10 h 517"/>
                <a:gd name="T10" fmla="*/ 76 w 799"/>
                <a:gd name="T11" fmla="*/ 5 h 517"/>
                <a:gd name="T12" fmla="*/ 12 w 799"/>
                <a:gd name="T13" fmla="*/ 42 h 517"/>
                <a:gd name="T14" fmla="*/ 13 w 799"/>
                <a:gd name="T15" fmla="*/ 117 h 517"/>
                <a:gd name="T16" fmla="*/ 74 w 799"/>
                <a:gd name="T17" fmla="*/ 205 h 517"/>
                <a:gd name="T18" fmla="*/ 324 w 799"/>
                <a:gd name="T19" fmla="*/ 393 h 517"/>
                <a:gd name="T20" fmla="*/ 616 w 799"/>
                <a:gd name="T21" fmla="*/ 507 h 517"/>
                <a:gd name="T22" fmla="*/ 723 w 799"/>
                <a:gd name="T23" fmla="*/ 512 h 517"/>
                <a:gd name="T24" fmla="*/ 787 w 799"/>
                <a:gd name="T25" fmla="*/ 475 h 517"/>
                <a:gd name="T26" fmla="*/ 770 w 799"/>
                <a:gd name="T27" fmla="*/ 465 h 517"/>
                <a:gd name="T28" fmla="*/ 720 w 799"/>
                <a:gd name="T29" fmla="*/ 492 h 517"/>
                <a:gd name="T30" fmla="*/ 620 w 799"/>
                <a:gd name="T31" fmla="*/ 487 h 517"/>
                <a:gd name="T32" fmla="*/ 334 w 799"/>
                <a:gd name="T33" fmla="*/ 376 h 517"/>
                <a:gd name="T34" fmla="*/ 89 w 799"/>
                <a:gd name="T35" fmla="*/ 191 h 517"/>
                <a:gd name="T36" fmla="*/ 32 w 799"/>
                <a:gd name="T37" fmla="*/ 109 h 517"/>
                <a:gd name="T38" fmla="*/ 29 w 799"/>
                <a:gd name="T39" fmla="*/ 52 h 517"/>
                <a:gd name="T40" fmla="*/ 79 w 799"/>
                <a:gd name="T41" fmla="*/ 25 h 517"/>
                <a:gd name="T42" fmla="*/ 179 w 799"/>
                <a:gd name="T43" fmla="*/ 30 h 517"/>
                <a:gd name="T44" fmla="*/ 465 w 799"/>
                <a:gd name="T45" fmla="*/ 142 h 517"/>
                <a:gd name="T46" fmla="*/ 710 w 799"/>
                <a:gd name="T47" fmla="*/ 326 h 517"/>
                <a:gd name="T48" fmla="*/ 767 w 799"/>
                <a:gd name="T49" fmla="*/ 408 h 517"/>
                <a:gd name="T50" fmla="*/ 770 w 799"/>
                <a:gd name="T51" fmla="*/ 465 h 5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799" h="517">
                  <a:moveTo>
                    <a:pt x="787" y="475"/>
                  </a:moveTo>
                  <a:cubicBezTo>
                    <a:pt x="799" y="454"/>
                    <a:pt x="796" y="428"/>
                    <a:pt x="785" y="401"/>
                  </a:cubicBezTo>
                  <a:cubicBezTo>
                    <a:pt x="774" y="373"/>
                    <a:pt x="753" y="343"/>
                    <a:pt x="724" y="312"/>
                  </a:cubicBezTo>
                  <a:cubicBezTo>
                    <a:pt x="667" y="250"/>
                    <a:pt x="580" y="183"/>
                    <a:pt x="474" y="124"/>
                  </a:cubicBezTo>
                  <a:cubicBezTo>
                    <a:pt x="369" y="65"/>
                    <a:pt x="265" y="26"/>
                    <a:pt x="183" y="10"/>
                  </a:cubicBezTo>
                  <a:cubicBezTo>
                    <a:pt x="141" y="2"/>
                    <a:pt x="105" y="0"/>
                    <a:pt x="76" y="5"/>
                  </a:cubicBezTo>
                  <a:cubicBezTo>
                    <a:pt x="46" y="10"/>
                    <a:pt x="23" y="21"/>
                    <a:pt x="12" y="42"/>
                  </a:cubicBezTo>
                  <a:cubicBezTo>
                    <a:pt x="0" y="63"/>
                    <a:pt x="2" y="89"/>
                    <a:pt x="13" y="117"/>
                  </a:cubicBezTo>
                  <a:cubicBezTo>
                    <a:pt x="25" y="144"/>
                    <a:pt x="46" y="174"/>
                    <a:pt x="74" y="205"/>
                  </a:cubicBezTo>
                  <a:cubicBezTo>
                    <a:pt x="131" y="267"/>
                    <a:pt x="219" y="334"/>
                    <a:pt x="324" y="393"/>
                  </a:cubicBezTo>
                  <a:cubicBezTo>
                    <a:pt x="430" y="452"/>
                    <a:pt x="533" y="491"/>
                    <a:pt x="616" y="507"/>
                  </a:cubicBezTo>
                  <a:cubicBezTo>
                    <a:pt x="657" y="515"/>
                    <a:pt x="693" y="517"/>
                    <a:pt x="723" y="512"/>
                  </a:cubicBezTo>
                  <a:cubicBezTo>
                    <a:pt x="752" y="508"/>
                    <a:pt x="776" y="496"/>
                    <a:pt x="787" y="475"/>
                  </a:cubicBezTo>
                  <a:close/>
                  <a:moveTo>
                    <a:pt x="770" y="465"/>
                  </a:moveTo>
                  <a:cubicBezTo>
                    <a:pt x="762" y="479"/>
                    <a:pt x="746" y="488"/>
                    <a:pt x="720" y="492"/>
                  </a:cubicBezTo>
                  <a:cubicBezTo>
                    <a:pt x="694" y="496"/>
                    <a:pt x="660" y="495"/>
                    <a:pt x="620" y="487"/>
                  </a:cubicBezTo>
                  <a:cubicBezTo>
                    <a:pt x="540" y="472"/>
                    <a:pt x="438" y="434"/>
                    <a:pt x="334" y="376"/>
                  </a:cubicBezTo>
                  <a:cubicBezTo>
                    <a:pt x="230" y="318"/>
                    <a:pt x="144" y="251"/>
                    <a:pt x="89" y="191"/>
                  </a:cubicBezTo>
                  <a:cubicBezTo>
                    <a:pt x="62" y="162"/>
                    <a:pt x="42" y="133"/>
                    <a:pt x="32" y="109"/>
                  </a:cubicBezTo>
                  <a:cubicBezTo>
                    <a:pt x="22" y="85"/>
                    <a:pt x="21" y="66"/>
                    <a:pt x="29" y="52"/>
                  </a:cubicBezTo>
                  <a:cubicBezTo>
                    <a:pt x="37" y="38"/>
                    <a:pt x="53" y="29"/>
                    <a:pt x="79" y="25"/>
                  </a:cubicBezTo>
                  <a:cubicBezTo>
                    <a:pt x="105" y="21"/>
                    <a:pt x="139" y="23"/>
                    <a:pt x="179" y="30"/>
                  </a:cubicBezTo>
                  <a:cubicBezTo>
                    <a:pt x="259" y="45"/>
                    <a:pt x="361" y="84"/>
                    <a:pt x="465" y="142"/>
                  </a:cubicBezTo>
                  <a:cubicBezTo>
                    <a:pt x="568" y="200"/>
                    <a:pt x="655" y="266"/>
                    <a:pt x="710" y="326"/>
                  </a:cubicBezTo>
                  <a:cubicBezTo>
                    <a:pt x="737" y="356"/>
                    <a:pt x="757" y="384"/>
                    <a:pt x="767" y="408"/>
                  </a:cubicBezTo>
                  <a:cubicBezTo>
                    <a:pt x="777" y="432"/>
                    <a:pt x="777" y="451"/>
                    <a:pt x="770" y="46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6" name="POWER_USER_ID_ICONS_Atomic"/>
            <p:cNvSpPr>
              <a:spLocks noChangeArrowheads="1"/>
            </p:cNvSpPr>
            <p:nvPr>
              <p:custDataLst>
                <p:tags r:id="rId7"/>
              </p:custDataLst>
            </p:nvPr>
          </p:nvSpPr>
          <p:spPr bwMode="auto">
            <a:xfrm>
              <a:off x="70" y="180"/>
              <a:ext cx="37" cy="38"/>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7" name="POWER_USER_ID_ICONS_Atomic"/>
            <p:cNvSpPr>
              <a:spLocks noChangeArrowheads="1"/>
            </p:cNvSpPr>
            <p:nvPr>
              <p:custDataLst>
                <p:tags r:id="rId8"/>
              </p:custDataLst>
            </p:nvPr>
          </p:nvSpPr>
          <p:spPr bwMode="auto">
            <a:xfrm>
              <a:off x="351" y="183"/>
              <a:ext cx="37" cy="3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8" name="POWER_USER_ID_ICONS_Atomic"/>
            <p:cNvSpPr>
              <a:spLocks noChangeArrowheads="1"/>
            </p:cNvSpPr>
            <p:nvPr>
              <p:custDataLst>
                <p:tags r:id="rId9"/>
              </p:custDataLst>
            </p:nvPr>
          </p:nvSpPr>
          <p:spPr bwMode="auto">
            <a:xfrm>
              <a:off x="278" y="362"/>
              <a:ext cx="38" cy="37"/>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29" name="POWER_USER_ID_ICONS_Atomic"/>
            <p:cNvSpPr>
              <a:spLocks/>
            </p:cNvSpPr>
            <p:nvPr>
              <p:custDataLst>
                <p:tags r:id="rId10"/>
              </p:custDataLst>
            </p:nvPr>
          </p:nvSpPr>
          <p:spPr bwMode="auto">
            <a:xfrm>
              <a:off x="209" y="212"/>
              <a:ext cx="42" cy="37"/>
            </a:xfrm>
            <a:custGeom>
              <a:avLst/>
              <a:gdLst>
                <a:gd name="T0" fmla="*/ 48 w 91"/>
                <a:gd name="T1" fmla="*/ 0 h 81"/>
                <a:gd name="T2" fmla="*/ 0 w 91"/>
                <a:gd name="T3" fmla="*/ 50 h 81"/>
                <a:gd name="T4" fmla="*/ 11 w 91"/>
                <a:gd name="T5" fmla="*/ 81 h 81"/>
                <a:gd name="T6" fmla="*/ 59 w 91"/>
                <a:gd name="T7" fmla="*/ 59 h 81"/>
                <a:gd name="T8" fmla="*/ 60 w 91"/>
                <a:gd name="T9" fmla="*/ 59 h 81"/>
                <a:gd name="T10" fmla="*/ 91 w 91"/>
                <a:gd name="T11" fmla="*/ 28 h 81"/>
                <a:gd name="T12" fmla="*/ 48 w 91"/>
                <a:gd name="T13" fmla="*/ 0 h 81"/>
              </a:gdLst>
              <a:ahLst/>
              <a:cxnLst>
                <a:cxn ang="0">
                  <a:pos x="T0" y="T1"/>
                </a:cxn>
                <a:cxn ang="0">
                  <a:pos x="T2" y="T3"/>
                </a:cxn>
                <a:cxn ang="0">
                  <a:pos x="T4" y="T5"/>
                </a:cxn>
                <a:cxn ang="0">
                  <a:pos x="T6" y="T7"/>
                </a:cxn>
                <a:cxn ang="0">
                  <a:pos x="T8" y="T9"/>
                </a:cxn>
                <a:cxn ang="0">
                  <a:pos x="T10" y="T11"/>
                </a:cxn>
                <a:cxn ang="0">
                  <a:pos x="T12" y="T13"/>
                </a:cxn>
              </a:cxnLst>
              <a:rect l="0" t="0" r="r" b="b"/>
              <a:pathLst>
                <a:path w="91" h="81">
                  <a:moveTo>
                    <a:pt x="48" y="0"/>
                  </a:moveTo>
                  <a:cubicBezTo>
                    <a:pt x="22" y="0"/>
                    <a:pt x="0" y="23"/>
                    <a:pt x="0" y="50"/>
                  </a:cubicBezTo>
                  <a:cubicBezTo>
                    <a:pt x="0" y="62"/>
                    <a:pt x="4" y="73"/>
                    <a:pt x="11" y="81"/>
                  </a:cubicBezTo>
                  <a:cubicBezTo>
                    <a:pt x="23" y="68"/>
                    <a:pt x="40" y="59"/>
                    <a:pt x="59" y="59"/>
                  </a:cubicBezTo>
                  <a:cubicBezTo>
                    <a:pt x="59" y="59"/>
                    <a:pt x="60" y="59"/>
                    <a:pt x="60" y="59"/>
                  </a:cubicBezTo>
                  <a:cubicBezTo>
                    <a:pt x="67" y="45"/>
                    <a:pt x="78" y="34"/>
                    <a:pt x="91" y="28"/>
                  </a:cubicBezTo>
                  <a:cubicBezTo>
                    <a:pt x="83" y="12"/>
                    <a:pt x="67" y="0"/>
                    <a:pt x="48"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0" name="POWER_USER_ID_ICONS_Atomic"/>
            <p:cNvSpPr>
              <a:spLocks/>
            </p:cNvSpPr>
            <p:nvPr>
              <p:custDataLst>
                <p:tags r:id="rId11"/>
              </p:custDataLst>
            </p:nvPr>
          </p:nvSpPr>
          <p:spPr bwMode="auto">
            <a:xfrm>
              <a:off x="212" y="244"/>
              <a:ext cx="40" cy="46"/>
            </a:xfrm>
            <a:custGeom>
              <a:avLst/>
              <a:gdLst>
                <a:gd name="T0" fmla="*/ 49 w 87"/>
                <a:gd name="T1" fmla="*/ 0 h 100"/>
                <a:gd name="T2" fmla="*/ 0 w 87"/>
                <a:gd name="T3" fmla="*/ 50 h 100"/>
                <a:gd name="T4" fmla="*/ 49 w 87"/>
                <a:gd name="T5" fmla="*/ 100 h 100"/>
                <a:gd name="T6" fmla="*/ 87 w 87"/>
                <a:gd name="T7" fmla="*/ 81 h 100"/>
                <a:gd name="T8" fmla="*/ 51 w 87"/>
                <a:gd name="T9" fmla="*/ 20 h 100"/>
                <a:gd name="T10" fmla="*/ 54 w 87"/>
                <a:gd name="T11" fmla="*/ 0 h 100"/>
                <a:gd name="T12" fmla="*/ 49 w 87"/>
                <a:gd name="T13" fmla="*/ 0 h 100"/>
              </a:gdLst>
              <a:ahLst/>
              <a:cxnLst>
                <a:cxn ang="0">
                  <a:pos x="T0" y="T1"/>
                </a:cxn>
                <a:cxn ang="0">
                  <a:pos x="T2" y="T3"/>
                </a:cxn>
                <a:cxn ang="0">
                  <a:pos x="T4" y="T5"/>
                </a:cxn>
                <a:cxn ang="0">
                  <a:pos x="T6" y="T7"/>
                </a:cxn>
                <a:cxn ang="0">
                  <a:pos x="T8" y="T9"/>
                </a:cxn>
                <a:cxn ang="0">
                  <a:pos x="T10" y="T11"/>
                </a:cxn>
                <a:cxn ang="0">
                  <a:pos x="T12" y="T13"/>
                </a:cxn>
              </a:cxnLst>
              <a:rect l="0" t="0" r="r" b="b"/>
              <a:pathLst>
                <a:path w="87" h="100">
                  <a:moveTo>
                    <a:pt x="49" y="0"/>
                  </a:moveTo>
                  <a:cubicBezTo>
                    <a:pt x="22" y="0"/>
                    <a:pt x="0" y="23"/>
                    <a:pt x="0" y="50"/>
                  </a:cubicBezTo>
                  <a:cubicBezTo>
                    <a:pt x="0" y="78"/>
                    <a:pt x="22" y="100"/>
                    <a:pt x="49" y="100"/>
                  </a:cubicBezTo>
                  <a:cubicBezTo>
                    <a:pt x="64" y="100"/>
                    <a:pt x="78" y="93"/>
                    <a:pt x="87" y="81"/>
                  </a:cubicBezTo>
                  <a:cubicBezTo>
                    <a:pt x="66" y="69"/>
                    <a:pt x="51" y="46"/>
                    <a:pt x="51" y="20"/>
                  </a:cubicBezTo>
                  <a:cubicBezTo>
                    <a:pt x="51" y="13"/>
                    <a:pt x="52" y="7"/>
                    <a:pt x="54" y="0"/>
                  </a:cubicBezTo>
                  <a:cubicBezTo>
                    <a:pt x="52" y="0"/>
                    <a:pt x="51" y="0"/>
                    <a:pt x="49"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31" name="POWER_USER_ID_ICONS_Atomic"/>
            <p:cNvSpPr>
              <a:spLocks/>
            </p:cNvSpPr>
            <p:nvPr>
              <p:custDataLst>
                <p:tags r:id="rId12"/>
              </p:custDataLst>
            </p:nvPr>
          </p:nvSpPr>
          <p:spPr bwMode="auto">
            <a:xfrm>
              <a:off x="239" y="216"/>
              <a:ext cx="52" cy="63"/>
            </a:xfrm>
            <a:custGeom>
              <a:avLst/>
              <a:gdLst>
                <a:gd name="T0" fmla="*/ 112 w 112"/>
                <a:gd name="T1" fmla="*/ 77 h 135"/>
                <a:gd name="T2" fmla="*/ 56 w 112"/>
                <a:gd name="T3" fmla="*/ 135 h 135"/>
                <a:gd name="T4" fmla="*/ 0 w 112"/>
                <a:gd name="T5" fmla="*/ 77 h 135"/>
                <a:gd name="T6" fmla="*/ 112 w 112"/>
                <a:gd name="T7" fmla="*/ 77 h 135"/>
              </a:gdLst>
              <a:ahLst/>
              <a:cxnLst>
                <a:cxn ang="0">
                  <a:pos x="T0" y="T1"/>
                </a:cxn>
                <a:cxn ang="0">
                  <a:pos x="T2" y="T3"/>
                </a:cxn>
                <a:cxn ang="0">
                  <a:pos x="T4" y="T5"/>
                </a:cxn>
                <a:cxn ang="0">
                  <a:pos x="T6" y="T7"/>
                </a:cxn>
              </a:cxnLst>
              <a:rect l="0" t="0" r="r" b="b"/>
              <a:pathLst>
                <a:path w="112" h="135">
                  <a:moveTo>
                    <a:pt x="112" y="77"/>
                  </a:moveTo>
                  <a:cubicBezTo>
                    <a:pt x="112" y="109"/>
                    <a:pt x="87" y="135"/>
                    <a:pt x="56" y="135"/>
                  </a:cubicBezTo>
                  <a:cubicBezTo>
                    <a:pt x="25" y="135"/>
                    <a:pt x="0" y="109"/>
                    <a:pt x="0" y="77"/>
                  </a:cubicBezTo>
                  <a:cubicBezTo>
                    <a:pt x="0" y="0"/>
                    <a:pt x="112" y="0"/>
                    <a:pt x="112" y="77"/>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grpSp>
    </p:spTree>
    <p:extLst>
      <p:ext uri="{BB962C8B-B14F-4D97-AF65-F5344CB8AC3E}">
        <p14:creationId xmlns:p14="http://schemas.microsoft.com/office/powerpoint/2010/main" val="20504327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laptop_POWER_USER_SEPARATOR_ICONS_computer_POWER_USER_SEPARATOR_ICONS_electronic_POWER_USER_SEPARATOR_ICONS_personal-computer_POWER_USER_SEPARATOR_ICONS_tech_POWER_USER_SEPARATOR_ICONS_technology"/>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gear_POWER_USER_SEPARATOR_ICONS_cogs_POWER_USER_SEPARATOR_ICONS_gears_POWER_USER_SEPARATOR_ICONS_machine_POWER_USER_SEPARATOR_ICONS_mechanic"/>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atomic_POWER_USER_SEPARATOR_ICONS_matter_POWER_USER_SEPARATOR_ICONS_particles_POWER_USER_SEPARATOR_ICONS_science"/>
</p:tagLst>
</file>

<file path=ppt/theme/theme1.xml><?xml version="1.0" encoding="utf-8"?>
<a:theme xmlns:a="http://schemas.openxmlformats.org/drawingml/2006/main" name="Blank">
  <a:themeElements>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lide_Master">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3175" marR="0" indent="0" algn="l" defTabSz="914400" rtl="0" eaLnBrk="1" fontAlgn="base" latinLnBrk="0" hangingPunct="1">
          <a:lnSpc>
            <a:spcPct val="100000"/>
          </a:lnSpc>
          <a:spcBef>
            <a:spcPct val="0"/>
          </a:spcBef>
          <a:spcAft>
            <a:spcPct val="0"/>
          </a:spcAft>
          <a:buClrTx/>
          <a:buSzTx/>
          <a:buFontTx/>
          <a:buNone/>
          <a:tabLst/>
          <a:defRPr kumimoji="0" lang="en-GB" altLang="en-US" sz="1200" b="0" i="0" u="none" strike="noStrike" cap="none" normalizeH="0" baseline="0" smtClean="0">
            <a:ln>
              <a:noFill/>
            </a:ln>
            <a:solidFill>
              <a:srgbClr val="0F5494"/>
            </a:solidFill>
            <a:effectLst/>
            <a:latin typeface="Verdana" pitchFamily="34"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ctr" anchorCtr="0" compatLnSpc="1">
        <a:prstTxWarp prst="textNoShape">
          <a:avLst/>
        </a:prstTxWarp>
      </a:bodyPr>
      <a:lstStyle>
        <a:defPPr marL="3175" marR="0" indent="0" algn="l" defTabSz="914400" rtl="0" eaLnBrk="1" fontAlgn="base" latinLnBrk="0" hangingPunct="1">
          <a:lnSpc>
            <a:spcPct val="100000"/>
          </a:lnSpc>
          <a:spcBef>
            <a:spcPct val="0"/>
          </a:spcBef>
          <a:spcAft>
            <a:spcPct val="0"/>
          </a:spcAft>
          <a:buClrTx/>
          <a:buSzTx/>
          <a:buFontTx/>
          <a:buNone/>
          <a:tabLst/>
          <a:defRPr kumimoji="0" lang="en-GB" altLang="en-US" sz="1200" b="0" i="0" u="none" strike="noStrike" cap="none" normalizeH="0" baseline="0" smtClean="0">
            <a:ln>
              <a:noFill/>
            </a:ln>
            <a:solidFill>
              <a:srgbClr val="0F5494"/>
            </a:solidFill>
            <a:effectLst/>
            <a:latin typeface="Verdana" pitchFamily="34" charset="0"/>
          </a:defRPr>
        </a:defPPr>
      </a:lstStyle>
    </a:lnDef>
  </a:objectDefaults>
  <a:extraClrSchemeLst>
    <a:extraClrScheme>
      <a:clrScheme name="Slide_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lide_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lide_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lide_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lide_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lide_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lide_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lide_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lide_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lide_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lide_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lide_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6612</TotalTime>
  <Words>601</Words>
  <Application>Microsoft Office PowerPoint</Application>
  <PresentationFormat>Projekcija na ekranu (4:3)</PresentationFormat>
  <Paragraphs>149</Paragraphs>
  <Slides>15</Slides>
  <Notes>15</Notes>
  <HiddenSlides>0</HiddenSlides>
  <MMClips>0</MMClips>
  <ScaleCrop>false</ScaleCrop>
  <HeadingPairs>
    <vt:vector size="4" baseType="variant">
      <vt:variant>
        <vt:lpstr>Tema</vt:lpstr>
      </vt:variant>
      <vt:variant>
        <vt:i4>1</vt:i4>
      </vt:variant>
      <vt:variant>
        <vt:lpstr>Naslovi slajdova</vt:lpstr>
      </vt:variant>
      <vt:variant>
        <vt:i4>15</vt:i4>
      </vt:variant>
    </vt:vector>
  </HeadingPairs>
  <TitlesOfParts>
    <vt:vector size="16" baseType="lpstr">
      <vt:lpstr>Blank</vt:lpstr>
      <vt:lpstr>Erasmus+  Capacity Building in  Higher Education </vt:lpstr>
      <vt:lpstr>PowerPoint prezentacija</vt:lpstr>
      <vt:lpstr>Participation per country</vt:lpstr>
      <vt:lpstr>WB results 2018: out of 19 projects</vt:lpstr>
      <vt:lpstr>WB results 2018: out of 19 projects</vt:lpstr>
      <vt:lpstr>New Strategy – February 2018</vt:lpstr>
      <vt:lpstr>Regional dialogue Western Balkan Platform  on Education and Training  </vt:lpstr>
      <vt:lpstr>Other initiatives</vt:lpstr>
      <vt:lpstr>Other initiatives</vt:lpstr>
      <vt:lpstr>Common political challenges in HE in the Western Balkan region</vt:lpstr>
      <vt:lpstr>PowerPoint prezentacija</vt:lpstr>
      <vt:lpstr>Grouping of 2018 projects by project profiles/topics/themes</vt:lpstr>
      <vt:lpstr>Activity part B</vt:lpstr>
      <vt:lpstr>What have I learned from this discussion?</vt:lpstr>
      <vt:lpstr>PowerPoint prezentacija</vt:lpstr>
    </vt:vector>
  </TitlesOfParts>
  <Company>European Commiss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Patricia.MOREAU@ec.europa.eu</dc:creator>
  <cp:lastModifiedBy>Ivana Perkovic</cp:lastModifiedBy>
  <cp:revision>595</cp:revision>
  <cp:lastPrinted>2019-01-24T10:02:06Z</cp:lastPrinted>
  <dcterms:created xsi:type="dcterms:W3CDTF">2015-11-26T07:45:18Z</dcterms:created>
  <dcterms:modified xsi:type="dcterms:W3CDTF">2019-02-25T21:50:36Z</dcterms:modified>
</cp:coreProperties>
</file>